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charts/chartEx2.xml" ContentType="application/vnd.ms-office.chartex+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7"/>
  </p:notesMasterIdLst>
  <p:sldIdLst>
    <p:sldId id="403" r:id="rId2"/>
    <p:sldId id="401" r:id="rId3"/>
    <p:sldId id="392" r:id="rId4"/>
    <p:sldId id="402" r:id="rId5"/>
    <p:sldId id="399" r:id="rId6"/>
  </p:sldIdLst>
  <p:sldSz cx="8961438" cy="67214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E6B8"/>
    <a:srgbClr val="002C46"/>
    <a:srgbClr val="FDDA95"/>
    <a:srgbClr val="FFFFFF"/>
    <a:srgbClr val="FBC14E"/>
    <a:srgbClr val="EBEEF2"/>
    <a:srgbClr val="AABFD6"/>
    <a:srgbClr val="8497B0"/>
    <a:srgbClr val="657E9D"/>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7" autoAdjust="0"/>
    <p:restoredTop sz="92759" autoAdjust="0"/>
  </p:normalViewPr>
  <p:slideViewPr>
    <p:cSldViewPr snapToGrid="0">
      <p:cViewPr varScale="1">
        <p:scale>
          <a:sx n="94" d="100"/>
          <a:sy n="94" d="100"/>
        </p:scale>
        <p:origin x="1816"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onard Fernando" userId="9602231002f29d14" providerId="LiveId" clId="{801E1974-7282-E543-9DA1-59FBF0F95C0A}"/>
    <pc:docChg chg="delSld">
      <pc:chgData name="Leonard Fernando" userId="9602231002f29d14" providerId="LiveId" clId="{801E1974-7282-E543-9DA1-59FBF0F95C0A}" dt="2020-08-24T03:56:30.383" v="4" actId="2696"/>
      <pc:docMkLst>
        <pc:docMk/>
      </pc:docMkLst>
      <pc:sldChg chg="del">
        <pc:chgData name="Leonard Fernando" userId="9602231002f29d14" providerId="LiveId" clId="{801E1974-7282-E543-9DA1-59FBF0F95C0A}" dt="2020-08-24T03:56:27.660" v="0" actId="2696"/>
        <pc:sldMkLst>
          <pc:docMk/>
          <pc:sldMk cId="2748477053" sldId="397"/>
        </pc:sldMkLst>
      </pc:sldChg>
      <pc:sldChg chg="del">
        <pc:chgData name="Leonard Fernando" userId="9602231002f29d14" providerId="LiveId" clId="{801E1974-7282-E543-9DA1-59FBF0F95C0A}" dt="2020-08-24T03:56:28.605" v="1" actId="2696"/>
        <pc:sldMkLst>
          <pc:docMk/>
          <pc:sldMk cId="151503131" sldId="404"/>
        </pc:sldMkLst>
      </pc:sldChg>
      <pc:sldChg chg="del">
        <pc:chgData name="Leonard Fernando" userId="9602231002f29d14" providerId="LiveId" clId="{801E1974-7282-E543-9DA1-59FBF0F95C0A}" dt="2020-08-24T03:56:29.107" v="2" actId="2696"/>
        <pc:sldMkLst>
          <pc:docMk/>
          <pc:sldMk cId="3285805662" sldId="405"/>
        </pc:sldMkLst>
      </pc:sldChg>
      <pc:sldChg chg="del">
        <pc:chgData name="Leonard Fernando" userId="9602231002f29d14" providerId="LiveId" clId="{801E1974-7282-E543-9DA1-59FBF0F95C0A}" dt="2020-08-24T03:56:29.487" v="3" actId="2696"/>
        <pc:sldMkLst>
          <pc:docMk/>
          <pc:sldMk cId="1768814989" sldId="406"/>
        </pc:sldMkLst>
      </pc:sldChg>
      <pc:sldChg chg="del">
        <pc:chgData name="Leonard Fernando" userId="9602231002f29d14" providerId="LiveId" clId="{801E1974-7282-E543-9DA1-59FBF0F95C0A}" dt="2020-08-24T03:56:30.383" v="4" actId="2696"/>
        <pc:sldMkLst>
          <pc:docMk/>
          <pc:sldMk cId="3684634938" sldId="40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prelu\Documents\Short%20Term%20Contract%20Work\Springboard%20Work\Statistics%20Case%20Study\Statistics%20Case%20Study%20Mentor%20Answer%20Key%202706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prelu\AppData\Roaming\Microsoft\Excel\Statistics%20Case%20Study%20Mentor%20Answer%20Key%20(version%201).xlsb" TargetMode="External"/><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3" Type="http://schemas.openxmlformats.org/officeDocument/2006/relationships/oleObject" Target="file:///C:\Users\prelu\Documents\Contract%20Work%20Engagements\Springboard%20Work\Statistics%20Case%20Study\Statistics%20Case%20Study%20Mentor%20Answer%20Key.xlsx" TargetMode="External"/><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C:\Users\prelu\Documents\Contract%20Work%20Engagements\Springboard%20Work\Statistics%20Case%20Study\Statistics%20Case%20Study%20Mentor%20Answer%20Ke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Statistical</a:t>
            </a:r>
            <a:r>
              <a:rPr lang="en-AU" b="1" baseline="0" dirty="0"/>
              <a:t> Alarm Plot</a:t>
            </a:r>
            <a:endParaRPr lang="en-AU"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Data Preparation'!$I$1</c:f>
              <c:strCache>
                <c:ptCount val="1"/>
                <c:pt idx="0">
                  <c:v>Pump Efficiency</c:v>
                </c:pt>
              </c:strCache>
            </c:strRef>
          </c:tx>
          <c:spPr>
            <a:ln w="28575" cap="rnd">
              <a:solidFill>
                <a:schemeClr val="accent2"/>
              </a:solidFill>
              <a:round/>
            </a:ln>
            <a:effectLst/>
          </c:spPr>
          <c:marker>
            <c:symbol val="none"/>
          </c:marker>
          <c:val>
            <c:numRef>
              <c:f>'Data Preparation'!$I$2:$I$2455</c:f>
              <c:numCache>
                <c:formatCode>#,##0.00</c:formatCode>
                <c:ptCount val="2454"/>
                <c:pt idx="0" formatCode="0.00">
                  <c:v>1.7425834101123603</c:v>
                </c:pt>
                <c:pt idx="1">
                  <c:v>1.8303351391925695</c:v>
                </c:pt>
                <c:pt idx="2">
                  <c:v>1.8650308007931886</c:v>
                </c:pt>
                <c:pt idx="3">
                  <c:v>1.9028648038838638</c:v>
                </c:pt>
                <c:pt idx="4">
                  <c:v>1.8818149006276312</c:v>
                </c:pt>
                <c:pt idx="5">
                  <c:v>1.9036022009371949</c:v>
                </c:pt>
                <c:pt idx="6">
                  <c:v>1.8272859838256463</c:v>
                </c:pt>
                <c:pt idx="7">
                  <c:v>1.842727625849327</c:v>
                </c:pt>
                <c:pt idx="8">
                  <c:v>1.9341987299377357</c:v>
                </c:pt>
                <c:pt idx="9">
                  <c:v>1.9391453275865891</c:v>
                </c:pt>
                <c:pt idx="10">
                  <c:v>1.9277501823758776</c:v>
                </c:pt>
                <c:pt idx="11">
                  <c:v>1.9239145838430072</c:v>
                </c:pt>
                <c:pt idx="12">
                  <c:v>1.9690085767562309</c:v>
                </c:pt>
                <c:pt idx="13">
                  <c:v>2.0341004739913919</c:v>
                </c:pt>
                <c:pt idx="14">
                  <c:v>2.0195770262758654</c:v>
                </c:pt>
                <c:pt idx="15">
                  <c:v>2.0176558946472762</c:v>
                </c:pt>
                <c:pt idx="16">
                  <c:v>2.0295560939855757</c:v>
                </c:pt>
                <c:pt idx="17">
                  <c:v>2.0668651635860775</c:v>
                </c:pt>
                <c:pt idx="18">
                  <c:v>2.1522631634195881</c:v>
                </c:pt>
                <c:pt idx="19">
                  <c:v>2.1074143878930989</c:v>
                </c:pt>
                <c:pt idx="20">
                  <c:v>2.1815699092459799</c:v>
                </c:pt>
                <c:pt idx="21">
                  <c:v>2.1929417765671966</c:v>
                </c:pt>
                <c:pt idx="22">
                  <c:v>2.2560756764712537</c:v>
                </c:pt>
                <c:pt idx="23">
                  <c:v>2.2549381968232178</c:v>
                </c:pt>
                <c:pt idx="24">
                  <c:v>2.2685458713625142</c:v>
                </c:pt>
                <c:pt idx="25">
                  <c:v>2.2108140309817603</c:v>
                </c:pt>
                <c:pt idx="26">
                  <c:v>2.2082860787766205</c:v>
                </c:pt>
                <c:pt idx="27">
                  <c:v>2.2373425999108596</c:v>
                </c:pt>
                <c:pt idx="28">
                  <c:v>2.2398211330559343</c:v>
                </c:pt>
                <c:pt idx="29">
                  <c:v>2.2731908409152641</c:v>
                </c:pt>
                <c:pt idx="30">
                  <c:v>2.2805854534415748</c:v>
                </c:pt>
                <c:pt idx="31">
                  <c:v>2.2259145412143715</c:v>
                </c:pt>
                <c:pt idx="32">
                  <c:v>2.1803060765066506</c:v>
                </c:pt>
                <c:pt idx="33">
                  <c:v>2.2471386236546227</c:v>
                </c:pt>
                <c:pt idx="34">
                  <c:v>2.2925999300055508</c:v>
                </c:pt>
                <c:pt idx="35">
                  <c:v>2.23071889153693</c:v>
                </c:pt>
                <c:pt idx="36">
                  <c:v>2.2098344058036181</c:v>
                </c:pt>
                <c:pt idx="37">
                  <c:v>2.1771029682753316</c:v>
                </c:pt>
                <c:pt idx="38">
                  <c:v>2.1701342501391152</c:v>
                </c:pt>
                <c:pt idx="39">
                  <c:v>2.2049243229796893</c:v>
                </c:pt>
                <c:pt idx="40">
                  <c:v>2.1990092503876792</c:v>
                </c:pt>
                <c:pt idx="41">
                  <c:v>2.2663707136402556</c:v>
                </c:pt>
                <c:pt idx="42">
                  <c:v>2.2229440802177303</c:v>
                </c:pt>
                <c:pt idx="43">
                  <c:v>2.172152484054259</c:v>
                </c:pt>
                <c:pt idx="44">
                  <c:v>2.1556814856157689</c:v>
                </c:pt>
                <c:pt idx="45">
                  <c:v>2.1730436586230257</c:v>
                </c:pt>
                <c:pt idx="46">
                  <c:v>2.1844064237127294</c:v>
                </c:pt>
                <c:pt idx="47">
                  <c:v>2.1690626790992269</c:v>
                </c:pt>
                <c:pt idx="48">
                  <c:v>2.1864211285962591</c:v>
                </c:pt>
                <c:pt idx="49">
                  <c:v>2.1945798842246678</c:v>
                </c:pt>
                <c:pt idx="50">
                  <c:v>2.1849473381144495</c:v>
                </c:pt>
                <c:pt idx="51">
                  <c:v>2.2406814092019971</c:v>
                </c:pt>
                <c:pt idx="52">
                  <c:v>2.2537278997665156</c:v>
                </c:pt>
                <c:pt idx="53">
                  <c:v>2.2469887177533048</c:v>
                </c:pt>
                <c:pt idx="54">
                  <c:v>2.2984685614007621</c:v>
                </c:pt>
                <c:pt idx="55">
                  <c:v>2.3322570221819148</c:v>
                </c:pt>
                <c:pt idx="56">
                  <c:v>2.2930165622772818</c:v>
                </c:pt>
                <c:pt idx="57">
                  <c:v>2.2745417208522247</c:v>
                </c:pt>
                <c:pt idx="58">
                  <c:v>2.2785929739455075</c:v>
                </c:pt>
                <c:pt idx="59">
                  <c:v>2.2930772112597304</c:v>
                </c:pt>
                <c:pt idx="60">
                  <c:v>2.3284721308488585</c:v>
                </c:pt>
                <c:pt idx="61">
                  <c:v>2.3549829539921534</c:v>
                </c:pt>
                <c:pt idx="62">
                  <c:v>2.3678577366964024</c:v>
                </c:pt>
                <c:pt idx="63">
                  <c:v>2.2964633867393487</c:v>
                </c:pt>
                <c:pt idx="64">
                  <c:v>2.3332427346061069</c:v>
                </c:pt>
                <c:pt idx="65">
                  <c:v>2.3567668843651934</c:v>
                </c:pt>
                <c:pt idx="66">
                  <c:v>2.3823062187951796</c:v>
                </c:pt>
                <c:pt idx="67">
                  <c:v>2.3825906681616575</c:v>
                </c:pt>
                <c:pt idx="68">
                  <c:v>2.346829483673524</c:v>
                </c:pt>
                <c:pt idx="69">
                  <c:v>2.3644548056530232</c:v>
                </c:pt>
                <c:pt idx="70">
                  <c:v>2.3648610282848748</c:v>
                </c:pt>
                <c:pt idx="71">
                  <c:v>2.3523663477904062</c:v>
                </c:pt>
                <c:pt idx="72">
                  <c:v>2.3984688444022275</c:v>
                </c:pt>
                <c:pt idx="73">
                  <c:v>2.3926511883930957</c:v>
                </c:pt>
                <c:pt idx="74">
                  <c:v>2.4614350462562182</c:v>
                </c:pt>
                <c:pt idx="75">
                  <c:v>2.4606179769208705</c:v>
                </c:pt>
                <c:pt idx="76">
                  <c:v>2.453773941212587</c:v>
                </c:pt>
                <c:pt idx="77">
                  <c:v>2.381325656798658</c:v>
                </c:pt>
                <c:pt idx="78">
                  <c:v>2.3517518113360012</c:v>
                </c:pt>
                <c:pt idx="79">
                  <c:v>2.341887642810272</c:v>
                </c:pt>
                <c:pt idx="80">
                  <c:v>2.2773302603811194</c:v>
                </c:pt>
                <c:pt idx="81">
                  <c:v>2.2333541609868908</c:v>
                </c:pt>
                <c:pt idx="82">
                  <c:v>2.1535680670454189</c:v>
                </c:pt>
                <c:pt idx="83">
                  <c:v>2.2015447481363912</c:v>
                </c:pt>
                <c:pt idx="84">
                  <c:v>2.2088121139399677</c:v>
                </c:pt>
                <c:pt idx="85">
                  <c:v>2.1981165024742673</c:v>
                </c:pt>
                <c:pt idx="86">
                  <c:v>2.1866320979086651</c:v>
                </c:pt>
                <c:pt idx="87">
                  <c:v>2.1850377673273984</c:v>
                </c:pt>
                <c:pt idx="88">
                  <c:v>2.2096009748661798</c:v>
                </c:pt>
                <c:pt idx="89">
                  <c:v>2.1466376491020149</c:v>
                </c:pt>
                <c:pt idx="90">
                  <c:v>2.1129878781821576</c:v>
                </c:pt>
                <c:pt idx="91">
                  <c:v>2.0730701470791453</c:v>
                </c:pt>
                <c:pt idx="92">
                  <c:v>2.0794410871937976</c:v>
                </c:pt>
                <c:pt idx="93">
                  <c:v>2.1328162370838299</c:v>
                </c:pt>
                <c:pt idx="94">
                  <c:v>2.0847910127919653</c:v>
                </c:pt>
                <c:pt idx="95">
                  <c:v>2.061541615636429</c:v>
                </c:pt>
                <c:pt idx="96">
                  <c:v>2.1025286155656353</c:v>
                </c:pt>
                <c:pt idx="97">
                  <c:v>2.188725134946925</c:v>
                </c:pt>
                <c:pt idx="98">
                  <c:v>2.141160359034465</c:v>
                </c:pt>
                <c:pt idx="99">
                  <c:v>2.141160359034465</c:v>
                </c:pt>
                <c:pt idx="100">
                  <c:v>2.1428193440282883</c:v>
                </c:pt>
                <c:pt idx="101">
                  <c:v>2.1532103054624558</c:v>
                </c:pt>
                <c:pt idx="102">
                  <c:v>2.1122327335635025</c:v>
                </c:pt>
                <c:pt idx="103">
                  <c:v>2.1979307522136686</c:v>
                </c:pt>
                <c:pt idx="104">
                  <c:v>2.1077965977716282</c:v>
                </c:pt>
                <c:pt idx="105">
                  <c:v>2.2148259898870695</c:v>
                </c:pt>
                <c:pt idx="106">
                  <c:v>2.2515273728275669</c:v>
                </c:pt>
                <c:pt idx="107">
                  <c:v>2.2385671026632732</c:v>
                </c:pt>
                <c:pt idx="108">
                  <c:v>2.2050900985102011</c:v>
                </c:pt>
                <c:pt idx="109">
                  <c:v>2.2131522196228226</c:v>
                </c:pt>
                <c:pt idx="110">
                  <c:v>2.2622778380282837</c:v>
                </c:pt>
                <c:pt idx="111">
                  <c:v>2.2361504770515457</c:v>
                </c:pt>
                <c:pt idx="112">
                  <c:v>2.3478262331949971</c:v>
                </c:pt>
                <c:pt idx="113">
                  <c:v>2.3308561264333019</c:v>
                </c:pt>
                <c:pt idx="114">
                  <c:v>2.2904827853008758</c:v>
                </c:pt>
                <c:pt idx="115">
                  <c:v>2.2673100746979071</c:v>
                </c:pt>
                <c:pt idx="116">
                  <c:v>2.3003616502319959</c:v>
                </c:pt>
                <c:pt idx="117">
                  <c:v>2.2827558053120049</c:v>
                </c:pt>
                <c:pt idx="118">
                  <c:v>2.2671006630822368</c:v>
                </c:pt>
                <c:pt idx="119">
                  <c:v>2.2676479081291925</c:v>
                </c:pt>
                <c:pt idx="120">
                  <c:v>2.2726073949575714</c:v>
                </c:pt>
                <c:pt idx="121">
                  <c:v>2.2744312107807034</c:v>
                </c:pt>
                <c:pt idx="122">
                  <c:v>2.2651917708895346</c:v>
                </c:pt>
                <c:pt idx="123">
                  <c:v>2.2822214233613165</c:v>
                </c:pt>
                <c:pt idx="124">
                  <c:v>2.2870579329764964</c:v>
                </c:pt>
                <c:pt idx="125">
                  <c:v>2.2861907590067521</c:v>
                </c:pt>
                <c:pt idx="126">
                  <c:v>2.1998820317776149</c:v>
                </c:pt>
                <c:pt idx="127">
                  <c:v>2.1297599977351633</c:v>
                </c:pt>
                <c:pt idx="128">
                  <c:v>2.2237144288597461</c:v>
                </c:pt>
                <c:pt idx="129">
                  <c:v>2.1961490341987884</c:v>
                </c:pt>
                <c:pt idx="130">
                  <c:v>2.2136779566919311</c:v>
                </c:pt>
                <c:pt idx="131">
                  <c:v>2.1794509101130211</c:v>
                </c:pt>
                <c:pt idx="132">
                  <c:v>2.1444579978384302</c:v>
                </c:pt>
                <c:pt idx="133">
                  <c:v>2.081613976560357</c:v>
                </c:pt>
                <c:pt idx="134">
                  <c:v>2.0564112444332712</c:v>
                </c:pt>
                <c:pt idx="135">
                  <c:v>1.9602576489703412</c:v>
                </c:pt>
                <c:pt idx="136">
                  <c:v>1.8958368593233923</c:v>
                </c:pt>
                <c:pt idx="137">
                  <c:v>1.9168533039259237</c:v>
                </c:pt>
                <c:pt idx="138">
                  <c:v>1.9229095343333185</c:v>
                </c:pt>
                <c:pt idx="139">
                  <c:v>1.9071647744660123</c:v>
                </c:pt>
                <c:pt idx="140">
                  <c:v>1.9186796067756662</c:v>
                </c:pt>
                <c:pt idx="141">
                  <c:v>1.9369862274892522</c:v>
                </c:pt>
                <c:pt idx="142">
                  <c:v>1.8651464178113766</c:v>
                </c:pt>
                <c:pt idx="143">
                  <c:v>1.9074806365060137</c:v>
                </c:pt>
                <c:pt idx="144">
                  <c:v>1.8825347072763183</c:v>
                </c:pt>
                <c:pt idx="145">
                  <c:v>1.8778551296378765</c:v>
                </c:pt>
                <c:pt idx="146">
                  <c:v>1.8845286614594297</c:v>
                </c:pt>
                <c:pt idx="147">
                  <c:v>1.9397792198282755</c:v>
                </c:pt>
                <c:pt idx="148">
                  <c:v>1.9360926709318496</c:v>
                </c:pt>
                <c:pt idx="149">
                  <c:v>1.9972764775147449</c:v>
                </c:pt>
                <c:pt idx="150">
                  <c:v>2.064947636002409</c:v>
                </c:pt>
                <c:pt idx="151">
                  <c:v>2.0298662017010392</c:v>
                </c:pt>
                <c:pt idx="152">
                  <c:v>2.1235676725553403</c:v>
                </c:pt>
                <c:pt idx="153">
                  <c:v>2.0913519134919176</c:v>
                </c:pt>
                <c:pt idx="154">
                  <c:v>2.0547854050243433</c:v>
                </c:pt>
                <c:pt idx="155">
                  <c:v>2.0433642169407777</c:v>
                </c:pt>
                <c:pt idx="156">
                  <c:v>2.0469570703458562</c:v>
                </c:pt>
                <c:pt idx="157">
                  <c:v>2.0617867414703985</c:v>
                </c:pt>
                <c:pt idx="158">
                  <c:v>2.0110971698879356</c:v>
                </c:pt>
                <c:pt idx="159">
                  <c:v>2.0039683249023508</c:v>
                </c:pt>
                <c:pt idx="160">
                  <c:v>2.0757366922654201</c:v>
                </c:pt>
                <c:pt idx="161">
                  <c:v>2.0742863849622011</c:v>
                </c:pt>
                <c:pt idx="162">
                  <c:v>2.0736696972056929</c:v>
                </c:pt>
                <c:pt idx="163">
                  <c:v>2.0907209946743159</c:v>
                </c:pt>
                <c:pt idx="164">
                  <c:v>2.0819360413448793</c:v>
                </c:pt>
                <c:pt idx="165">
                  <c:v>2.0935800486171301</c:v>
                </c:pt>
                <c:pt idx="166">
                  <c:v>2.0859578832471923</c:v>
                </c:pt>
                <c:pt idx="167">
                  <c:v>2.0669538651386876</c:v>
                </c:pt>
                <c:pt idx="168">
                  <c:v>2.1166101146657743</c:v>
                </c:pt>
                <c:pt idx="169">
                  <c:v>2.1232498646298801</c:v>
                </c:pt>
                <c:pt idx="170">
                  <c:v>2.0648408142292176</c:v>
                </c:pt>
                <c:pt idx="171">
                  <c:v>2.0032268070174628</c:v>
                </c:pt>
                <c:pt idx="172">
                  <c:v>1.8858110885173518</c:v>
                </c:pt>
                <c:pt idx="173">
                  <c:v>1.8775617059187788</c:v>
                </c:pt>
                <c:pt idx="174">
                  <c:v>2.0019354176765867</c:v>
                </c:pt>
                <c:pt idx="175">
                  <c:v>1.9961894924551051</c:v>
                </c:pt>
                <c:pt idx="176">
                  <c:v>1.984400166332057</c:v>
                </c:pt>
                <c:pt idx="177">
                  <c:v>2.0157168148259226</c:v>
                </c:pt>
                <c:pt idx="178">
                  <c:v>2.1146376096167638</c:v>
                </c:pt>
                <c:pt idx="179">
                  <c:v>2.1400183505976869</c:v>
                </c:pt>
                <c:pt idx="180">
                  <c:v>2.0912996772982795</c:v>
                </c:pt>
                <c:pt idx="181">
                  <c:v>2.0438362110698245</c:v>
                </c:pt>
                <c:pt idx="182">
                  <c:v>1.9600727173937371</c:v>
                </c:pt>
                <c:pt idx="183">
                  <c:v>2.0135575440227931</c:v>
                </c:pt>
                <c:pt idx="184">
                  <c:v>2.0715610204073207</c:v>
                </c:pt>
                <c:pt idx="185">
                  <c:v>2.0813804050712625</c:v>
                </c:pt>
                <c:pt idx="186">
                  <c:v>2.1636217872238026</c:v>
                </c:pt>
                <c:pt idx="187">
                  <c:v>2.1962124447121116</c:v>
                </c:pt>
                <c:pt idx="188">
                  <c:v>2.1913893168116063</c:v>
                </c:pt>
                <c:pt idx="189">
                  <c:v>2.2094957294279625</c:v>
                </c:pt>
                <c:pt idx="190">
                  <c:v>2.2315407893809254</c:v>
                </c:pt>
                <c:pt idx="191">
                  <c:v>2.1617084391935353</c:v>
                </c:pt>
                <c:pt idx="192">
                  <c:v>2.149185074680275</c:v>
                </c:pt>
                <c:pt idx="193">
                  <c:v>2.1547609114126676</c:v>
                </c:pt>
                <c:pt idx="194">
                  <c:v>2.1626398484901665</c:v>
                </c:pt>
                <c:pt idx="195">
                  <c:v>2.2150486634298141</c:v>
                </c:pt>
                <c:pt idx="196">
                  <c:v>2.2501744124583705</c:v>
                </c:pt>
                <c:pt idx="197">
                  <c:v>2.2839568757234305</c:v>
                </c:pt>
                <c:pt idx="198">
                  <c:v>2.2611690212040174</c:v>
                </c:pt>
                <c:pt idx="199">
                  <c:v>2.2607102152434244</c:v>
                </c:pt>
                <c:pt idx="200">
                  <c:v>2.2928214306924661</c:v>
                </c:pt>
                <c:pt idx="201">
                  <c:v>2.3658111528486976</c:v>
                </c:pt>
                <c:pt idx="202">
                  <c:v>2.3114191111111868</c:v>
                </c:pt>
                <c:pt idx="203">
                  <c:v>2.252392540679748</c:v>
                </c:pt>
                <c:pt idx="204">
                  <c:v>2.2665501006577533</c:v>
                </c:pt>
                <c:pt idx="205">
                  <c:v>2.2870681506576975</c:v>
                </c:pt>
                <c:pt idx="206">
                  <c:v>2.2870681506576975</c:v>
                </c:pt>
                <c:pt idx="207">
                  <c:v>2.2870681506576975</c:v>
                </c:pt>
                <c:pt idx="208">
                  <c:v>2.2857230115590195</c:v>
                </c:pt>
                <c:pt idx="209">
                  <c:v>2.2712396385196301</c:v>
                </c:pt>
                <c:pt idx="210">
                  <c:v>2.2875054744668422</c:v>
                </c:pt>
                <c:pt idx="211">
                  <c:v>2.2743817593347919</c:v>
                </c:pt>
                <c:pt idx="212">
                  <c:v>2.2999836857851679</c:v>
                </c:pt>
                <c:pt idx="213">
                  <c:v>2.3147977430526319</c:v>
                </c:pt>
                <c:pt idx="214">
                  <c:v>2.2434537725315571</c:v>
                </c:pt>
                <c:pt idx="215">
                  <c:v>2.2790575164515654</c:v>
                </c:pt>
                <c:pt idx="216">
                  <c:v>2.2270839064397148</c:v>
                </c:pt>
                <c:pt idx="217">
                  <c:v>2.2075085388041682</c:v>
                </c:pt>
                <c:pt idx="218">
                  <c:v>2.2975687316302458</c:v>
                </c:pt>
                <c:pt idx="219">
                  <c:v>2.4406254930997</c:v>
                </c:pt>
                <c:pt idx="220">
                  <c:v>2.3985573226379326</c:v>
                </c:pt>
                <c:pt idx="221">
                  <c:v>2.3985104303716289</c:v>
                </c:pt>
                <c:pt idx="222">
                  <c:v>2.3937780721539701</c:v>
                </c:pt>
                <c:pt idx="223">
                  <c:v>2.4355930720494285</c:v>
                </c:pt>
                <c:pt idx="224">
                  <c:v>2.5623251202469546</c:v>
                </c:pt>
                <c:pt idx="225">
                  <c:v>2.5113188055403675</c:v>
                </c:pt>
                <c:pt idx="226">
                  <c:v>2.4964487744250987</c:v>
                </c:pt>
                <c:pt idx="227">
                  <c:v>2.4579863648313767</c:v>
                </c:pt>
                <c:pt idx="228">
                  <c:v>2.5757522158650965</c:v>
                </c:pt>
                <c:pt idx="229">
                  <c:v>2.5721605469639401</c:v>
                </c:pt>
                <c:pt idx="230">
                  <c:v>2.489842116401217</c:v>
                </c:pt>
                <c:pt idx="231">
                  <c:v>2.509878346293827</c:v>
                </c:pt>
                <c:pt idx="232">
                  <c:v>2.4761268044555242</c:v>
                </c:pt>
                <c:pt idx="233">
                  <c:v>2.503244669383744</c:v>
                </c:pt>
                <c:pt idx="234">
                  <c:v>2.3541063404011648</c:v>
                </c:pt>
                <c:pt idx="235">
                  <c:v>2.3694029006150767</c:v>
                </c:pt>
                <c:pt idx="236">
                  <c:v>2.3665941625222811</c:v>
                </c:pt>
                <c:pt idx="237">
                  <c:v>2.1977367738083968</c:v>
                </c:pt>
                <c:pt idx="238">
                  <c:v>2.038804702000697</c:v>
                </c:pt>
                <c:pt idx="239">
                  <c:v>2.0202786888969646</c:v>
                </c:pt>
                <c:pt idx="240">
                  <c:v>2.0130522137666951</c:v>
                </c:pt>
                <c:pt idx="241">
                  <c:v>1.9634443963597872</c:v>
                </c:pt>
                <c:pt idx="242">
                  <c:v>1.7861956549690559</c:v>
                </c:pt>
                <c:pt idx="243">
                  <c:v>1.4871713219716276</c:v>
                </c:pt>
                <c:pt idx="244">
                  <c:v>1.5216756923538834</c:v>
                </c:pt>
                <c:pt idx="245">
                  <c:v>1.6150909157959779</c:v>
                </c:pt>
                <c:pt idx="246">
                  <c:v>1.5828194383348544</c:v>
                </c:pt>
                <c:pt idx="247">
                  <c:v>1.6200904527063069</c:v>
                </c:pt>
                <c:pt idx="248">
                  <c:v>1.61223591487042</c:v>
                </c:pt>
                <c:pt idx="249">
                  <c:v>1.5582957811105069</c:v>
                </c:pt>
                <c:pt idx="250">
                  <c:v>1.6169281184780218</c:v>
                </c:pt>
                <c:pt idx="251">
                  <c:v>1.5516534355825167</c:v>
                </c:pt>
                <c:pt idx="252">
                  <c:v>1.5587510863439045</c:v>
                </c:pt>
                <c:pt idx="253">
                  <c:v>1.5595447182808382</c:v>
                </c:pt>
                <c:pt idx="254">
                  <c:v>1.5430178097619349</c:v>
                </c:pt>
                <c:pt idx="255">
                  <c:v>1.594022747938729</c:v>
                </c:pt>
                <c:pt idx="256">
                  <c:v>1.5869152436411387</c:v>
                </c:pt>
                <c:pt idx="257">
                  <c:v>1.6265658143577673</c:v>
                </c:pt>
                <c:pt idx="258">
                  <c:v>1.8775170812604118</c:v>
                </c:pt>
                <c:pt idx="259">
                  <c:v>1.9282217059945173</c:v>
                </c:pt>
                <c:pt idx="260">
                  <c:v>2.0477333178997728</c:v>
                </c:pt>
                <c:pt idx="261">
                  <c:v>2.0831153642980578</c:v>
                </c:pt>
                <c:pt idx="262">
                  <c:v>2.2051352451960335</c:v>
                </c:pt>
                <c:pt idx="263">
                  <c:v>2.1916618763359197</c:v>
                </c:pt>
                <c:pt idx="264">
                  <c:v>2.2652135776752007</c:v>
                </c:pt>
                <c:pt idx="265">
                  <c:v>2.4420507867808694</c:v>
                </c:pt>
                <c:pt idx="266">
                  <c:v>2.4699416511803651</c:v>
                </c:pt>
                <c:pt idx="267">
                  <c:v>2.6130220985495534</c:v>
                </c:pt>
                <c:pt idx="268">
                  <c:v>2.7126398808203431</c:v>
                </c:pt>
                <c:pt idx="269">
                  <c:v>2.7084595983749256</c:v>
                </c:pt>
                <c:pt idx="270">
                  <c:v>2.815558896707091</c:v>
                </c:pt>
                <c:pt idx="271">
                  <c:v>2.8639430928262999</c:v>
                </c:pt>
                <c:pt idx="272">
                  <c:v>2.8487245724955854</c:v>
                </c:pt>
                <c:pt idx="273">
                  <c:v>2.840251668968738</c:v>
                </c:pt>
                <c:pt idx="274">
                  <c:v>2.7550207369361197</c:v>
                </c:pt>
                <c:pt idx="275">
                  <c:v>2.6473416804091925</c:v>
                </c:pt>
                <c:pt idx="276">
                  <c:v>2.6414832285693119</c:v>
                </c:pt>
                <c:pt idx="277">
                  <c:v>2.4847895601750074</c:v>
                </c:pt>
                <c:pt idx="278">
                  <c:v>2.4963848469487306</c:v>
                </c:pt>
                <c:pt idx="279">
                  <c:v>2.4393204815098106</c:v>
                </c:pt>
                <c:pt idx="280">
                  <c:v>2.3101561649815094</c:v>
                </c:pt>
                <c:pt idx="281">
                  <c:v>2.1941301001881648</c:v>
                </c:pt>
                <c:pt idx="282">
                  <c:v>2.1861176724547429</c:v>
                </c:pt>
                <c:pt idx="283">
                  <c:v>2.159142792095099</c:v>
                </c:pt>
                <c:pt idx="284">
                  <c:v>2.1780580626098875</c:v>
                </c:pt>
                <c:pt idx="285">
                  <c:v>2.2042562694771686</c:v>
                </c:pt>
                <c:pt idx="286">
                  <c:v>2.1158506058920805</c:v>
                </c:pt>
                <c:pt idx="287">
                  <c:v>2.1031336795047535</c:v>
                </c:pt>
                <c:pt idx="288">
                  <c:v>2.0880666700426014</c:v>
                </c:pt>
                <c:pt idx="289">
                  <c:v>2.0931913399760971</c:v>
                </c:pt>
                <c:pt idx="290">
                  <c:v>2.1019321450231816</c:v>
                </c:pt>
                <c:pt idx="291">
                  <c:v>2.1104672481039968</c:v>
                </c:pt>
                <c:pt idx="292">
                  <c:v>2.2130352100419337</c:v>
                </c:pt>
                <c:pt idx="293">
                  <c:v>2.2665859763575629</c:v>
                </c:pt>
                <c:pt idx="294">
                  <c:v>2.274691731980202</c:v>
                </c:pt>
                <c:pt idx="295">
                  <c:v>2.227939891121324</c:v>
                </c:pt>
                <c:pt idx="296">
                  <c:v>2.3275466792783384</c:v>
                </c:pt>
                <c:pt idx="297">
                  <c:v>2.2738885225564927</c:v>
                </c:pt>
                <c:pt idx="298">
                  <c:v>2.2906925475273674</c:v>
                </c:pt>
                <c:pt idx="299">
                  <c:v>2.3441515825492738</c:v>
                </c:pt>
                <c:pt idx="300">
                  <c:v>2.3827540497088657</c:v>
                </c:pt>
                <c:pt idx="301">
                  <c:v>2.3954775160050166</c:v>
                </c:pt>
                <c:pt idx="302">
                  <c:v>2.4026796256450975</c:v>
                </c:pt>
                <c:pt idx="303">
                  <c:v>2.4325349288958371</c:v>
                </c:pt>
                <c:pt idx="304">
                  <c:v>2.5260331639092857</c:v>
                </c:pt>
                <c:pt idx="305">
                  <c:v>2.4408312256873259</c:v>
                </c:pt>
                <c:pt idx="306">
                  <c:v>2.4121053280511213</c:v>
                </c:pt>
                <c:pt idx="307">
                  <c:v>2.4338073584023108</c:v>
                </c:pt>
                <c:pt idx="308">
                  <c:v>2.4572217307334689</c:v>
                </c:pt>
                <c:pt idx="309">
                  <c:v>2.5057419383741375</c:v>
                </c:pt>
                <c:pt idx="310">
                  <c:v>2.456713775805504</c:v>
                </c:pt>
                <c:pt idx="311">
                  <c:v>2.4569225688952581</c:v>
                </c:pt>
                <c:pt idx="312">
                  <c:v>2.4434125793187</c:v>
                </c:pt>
                <c:pt idx="313">
                  <c:v>2.3946799113927355</c:v>
                </c:pt>
                <c:pt idx="314">
                  <c:v>2.3545017606480636</c:v>
                </c:pt>
                <c:pt idx="315">
                  <c:v>2.3711399263232495</c:v>
                </c:pt>
                <c:pt idx="316">
                  <c:v>2.4053039773239622</c:v>
                </c:pt>
                <c:pt idx="317">
                  <c:v>2.4840774602145861</c:v>
                </c:pt>
                <c:pt idx="318">
                  <c:v>2.4407782957665778</c:v>
                </c:pt>
                <c:pt idx="319">
                  <c:v>2.5115101235309507</c:v>
                </c:pt>
                <c:pt idx="320">
                  <c:v>2.4794560853822025</c:v>
                </c:pt>
                <c:pt idx="321">
                  <c:v>2.5381462483248338</c:v>
                </c:pt>
                <c:pt idx="322">
                  <c:v>2.4997862547554393</c:v>
                </c:pt>
                <c:pt idx="323">
                  <c:v>2.4608961537126741</c:v>
                </c:pt>
                <c:pt idx="324">
                  <c:v>2.4507632921915485</c:v>
                </c:pt>
                <c:pt idx="325">
                  <c:v>2.4372400519769033</c:v>
                </c:pt>
                <c:pt idx="326">
                  <c:v>2.4373151185630113</c:v>
                </c:pt>
                <c:pt idx="327">
                  <c:v>2.433662158918581</c:v>
                </c:pt>
                <c:pt idx="328">
                  <c:v>2.3701939417997173</c:v>
                </c:pt>
                <c:pt idx="329">
                  <c:v>2.3245060128265442</c:v>
                </c:pt>
                <c:pt idx="330">
                  <c:v>2.3100842037062543</c:v>
                </c:pt>
                <c:pt idx="331">
                  <c:v>2.2913602746896755</c:v>
                </c:pt>
                <c:pt idx="332">
                  <c:v>2.247631898199804</c:v>
                </c:pt>
                <c:pt idx="333">
                  <c:v>2.2843165330944122</c:v>
                </c:pt>
                <c:pt idx="334">
                  <c:v>2.2195911722605173</c:v>
                </c:pt>
                <c:pt idx="335">
                  <c:v>2.2486447371238971</c:v>
                </c:pt>
                <c:pt idx="336">
                  <c:v>2.1671065311154822</c:v>
                </c:pt>
                <c:pt idx="337">
                  <c:v>2.1195486237371512</c:v>
                </c:pt>
                <c:pt idx="338">
                  <c:v>2.1429044583068477</c:v>
                </c:pt>
                <c:pt idx="339">
                  <c:v>2.108307514942366</c:v>
                </c:pt>
                <c:pt idx="340">
                  <c:v>2.1803983537638767</c:v>
                </c:pt>
                <c:pt idx="341">
                  <c:v>2.1848920353284282</c:v>
                </c:pt>
                <c:pt idx="342">
                  <c:v>2.1881813341355367</c:v>
                </c:pt>
                <c:pt idx="343">
                  <c:v>2.2449119190028215</c:v>
                </c:pt>
                <c:pt idx="344">
                  <c:v>2.2205223446823461</c:v>
                </c:pt>
                <c:pt idx="345">
                  <c:v>2.1475023434654288</c:v>
                </c:pt>
                <c:pt idx="346">
                  <c:v>2.1279697703216263</c:v>
                </c:pt>
                <c:pt idx="347">
                  <c:v>2.0280547760350673</c:v>
                </c:pt>
                <c:pt idx="348">
                  <c:v>2.0106379949571864</c:v>
                </c:pt>
                <c:pt idx="349">
                  <c:v>1.8831062381629513</c:v>
                </c:pt>
                <c:pt idx="350">
                  <c:v>1.920444519645139</c:v>
                </c:pt>
                <c:pt idx="351">
                  <c:v>1.8801058848163366</c:v>
                </c:pt>
                <c:pt idx="352">
                  <c:v>1.8853507245130705</c:v>
                </c:pt>
                <c:pt idx="353">
                  <c:v>1.8754217663122863</c:v>
                </c:pt>
                <c:pt idx="354">
                  <c:v>1.8942455092217585</c:v>
                </c:pt>
                <c:pt idx="355">
                  <c:v>1.8795334415787144</c:v>
                </c:pt>
                <c:pt idx="356">
                  <c:v>1.7966762638372527</c:v>
                </c:pt>
                <c:pt idx="357">
                  <c:v>1.7971744602729454</c:v>
                </c:pt>
                <c:pt idx="358">
                  <c:v>1.8797823909114002</c:v>
                </c:pt>
                <c:pt idx="359">
                  <c:v>1.9211515339740708</c:v>
                </c:pt>
                <c:pt idx="360">
                  <c:v>1.928996685628604</c:v>
                </c:pt>
                <c:pt idx="361">
                  <c:v>1.8807439172175082</c:v>
                </c:pt>
                <c:pt idx="362">
                  <c:v>1.992536277448141</c:v>
                </c:pt>
                <c:pt idx="363">
                  <c:v>1.9798686642817216</c:v>
                </c:pt>
                <c:pt idx="364">
                  <c:v>1.9879669361397714</c:v>
                </c:pt>
                <c:pt idx="365">
                  <c:v>2.0107589400899131</c:v>
                </c:pt>
                <c:pt idx="366">
                  <c:v>2.1029927513894791</c:v>
                </c:pt>
                <c:pt idx="367">
                  <c:v>2.1446698173470296</c:v>
                </c:pt>
                <c:pt idx="368">
                  <c:v>2.0474326902879159</c:v>
                </c:pt>
                <c:pt idx="369">
                  <c:v>2.041799358066259</c:v>
                </c:pt>
                <c:pt idx="370">
                  <c:v>1.9457090234836589</c:v>
                </c:pt>
                <c:pt idx="371">
                  <c:v>1.9443223690232396</c:v>
                </c:pt>
                <c:pt idx="372">
                  <c:v>1.9235374184681155</c:v>
                </c:pt>
                <c:pt idx="373">
                  <c:v>1.8562702246589651</c:v>
                </c:pt>
                <c:pt idx="374">
                  <c:v>1.8373906932668449</c:v>
                </c:pt>
                <c:pt idx="375">
                  <c:v>1.8479502455945174</c:v>
                </c:pt>
                <c:pt idx="376">
                  <c:v>1.8336628286686183</c:v>
                </c:pt>
                <c:pt idx="377">
                  <c:v>1.8497177312715714</c:v>
                </c:pt>
                <c:pt idx="378">
                  <c:v>1.8899785709803907</c:v>
                </c:pt>
                <c:pt idx="379">
                  <c:v>1.9054043122750721</c:v>
                </c:pt>
                <c:pt idx="380">
                  <c:v>1.9839673716509145</c:v>
                </c:pt>
                <c:pt idx="381">
                  <c:v>1.9451195524042342</c:v>
                </c:pt>
                <c:pt idx="382">
                  <c:v>1.954583120338879</c:v>
                </c:pt>
                <c:pt idx="383">
                  <c:v>1.9486326447032138</c:v>
                </c:pt>
                <c:pt idx="384">
                  <c:v>1.896637993840897</c:v>
                </c:pt>
                <c:pt idx="385">
                  <c:v>1.974505408031487</c:v>
                </c:pt>
                <c:pt idx="386">
                  <c:v>2.0347927401096189</c:v>
                </c:pt>
                <c:pt idx="387">
                  <c:v>2.019344088117351</c:v>
                </c:pt>
                <c:pt idx="388">
                  <c:v>2.0333805026709926</c:v>
                </c:pt>
                <c:pt idx="389">
                  <c:v>2.0153528705743962</c:v>
                </c:pt>
                <c:pt idx="390">
                  <c:v>1.9784054094857113</c:v>
                </c:pt>
                <c:pt idx="391">
                  <c:v>2.018098127742193</c:v>
                </c:pt>
                <c:pt idx="392">
                  <c:v>1.9584916543551034</c:v>
                </c:pt>
                <c:pt idx="393">
                  <c:v>1.8993225732598913</c:v>
                </c:pt>
                <c:pt idx="394">
                  <c:v>1.8928220570362457</c:v>
                </c:pt>
                <c:pt idx="395">
                  <c:v>1.8205319190087197</c:v>
                </c:pt>
                <c:pt idx="396">
                  <c:v>1.7402281558427231</c:v>
                </c:pt>
                <c:pt idx="397">
                  <c:v>1.7150039998446756</c:v>
                </c:pt>
                <c:pt idx="398">
                  <c:v>1.7639989285727189</c:v>
                </c:pt>
                <c:pt idx="399">
                  <c:v>1.8705747944805602</c:v>
                </c:pt>
                <c:pt idx="400">
                  <c:v>1.902528802665042</c:v>
                </c:pt>
                <c:pt idx="401">
                  <c:v>2.0121961185085167</c:v>
                </c:pt>
                <c:pt idx="402">
                  <c:v>2.0480361277627055</c:v>
                </c:pt>
                <c:pt idx="403">
                  <c:v>2.0244768946729645</c:v>
                </c:pt>
                <c:pt idx="404">
                  <c:v>2.0270091342191909</c:v>
                </c:pt>
                <c:pt idx="405">
                  <c:v>2.096669091348677</c:v>
                </c:pt>
                <c:pt idx="406">
                  <c:v>2.1277327155864558</c:v>
                </c:pt>
                <c:pt idx="407">
                  <c:v>2.0681020458394492</c:v>
                </c:pt>
                <c:pt idx="408">
                  <c:v>2.1052323006743006</c:v>
                </c:pt>
                <c:pt idx="409">
                  <c:v>2.0512684123155447</c:v>
                </c:pt>
                <c:pt idx="410">
                  <c:v>2.0134938539172418</c:v>
                </c:pt>
                <c:pt idx="411">
                  <c:v>2.0123567172170951</c:v>
                </c:pt>
                <c:pt idx="412">
                  <c:v>2.0120001914984758</c:v>
                </c:pt>
                <c:pt idx="413">
                  <c:v>2.06364994310549</c:v>
                </c:pt>
                <c:pt idx="414">
                  <c:v>2.0508501922073159</c:v>
                </c:pt>
                <c:pt idx="415">
                  <c:v>2.0847623065467502</c:v>
                </c:pt>
                <c:pt idx="416">
                  <c:v>2.0486292789753384</c:v>
                </c:pt>
                <c:pt idx="417">
                  <c:v>2.0607459538228836</c:v>
                </c:pt>
                <c:pt idx="418">
                  <c:v>2.0091758730385489</c:v>
                </c:pt>
                <c:pt idx="419">
                  <c:v>2.0252491880685186</c:v>
                </c:pt>
                <c:pt idx="420">
                  <c:v>2.0983617126410734</c:v>
                </c:pt>
                <c:pt idx="421">
                  <c:v>2.1016374622656762</c:v>
                </c:pt>
                <c:pt idx="422">
                  <c:v>2.164276048496836</c:v>
                </c:pt>
                <c:pt idx="423">
                  <c:v>2.1633510520243044</c:v>
                </c:pt>
                <c:pt idx="424">
                  <c:v>2.2155528556458193</c:v>
                </c:pt>
                <c:pt idx="425">
                  <c:v>2.225759620807505</c:v>
                </c:pt>
                <c:pt idx="426">
                  <c:v>2.2211395735150607</c:v>
                </c:pt>
                <c:pt idx="427">
                  <c:v>2.1692918017754348</c:v>
                </c:pt>
                <c:pt idx="428">
                  <c:v>2.2054674412397839</c:v>
                </c:pt>
                <c:pt idx="429">
                  <c:v>2.2250394194199843</c:v>
                </c:pt>
                <c:pt idx="430">
                  <c:v>2.214389841704905</c:v>
                </c:pt>
                <c:pt idx="431">
                  <c:v>2.1896082629131564</c:v>
                </c:pt>
                <c:pt idx="432">
                  <c:v>2.1821469623403589</c:v>
                </c:pt>
                <c:pt idx="433">
                  <c:v>2.2190018526356772</c:v>
                </c:pt>
                <c:pt idx="434">
                  <c:v>2.2073484534237746</c:v>
                </c:pt>
                <c:pt idx="435">
                  <c:v>2.1327560193009742</c:v>
                </c:pt>
                <c:pt idx="436">
                  <c:v>2.1189164170771653</c:v>
                </c:pt>
                <c:pt idx="437">
                  <c:v>2.1744682889612159</c:v>
                </c:pt>
                <c:pt idx="438">
                  <c:v>2.119251280596671</c:v>
                </c:pt>
                <c:pt idx="439">
                  <c:v>2.1837564535689067</c:v>
                </c:pt>
                <c:pt idx="440">
                  <c:v>2.2307631788732269</c:v>
                </c:pt>
                <c:pt idx="441">
                  <c:v>2.2297439215598001</c:v>
                </c:pt>
                <c:pt idx="442">
                  <c:v>2.2600848791720258</c:v>
                </c:pt>
                <c:pt idx="443">
                  <c:v>2.209592978452485</c:v>
                </c:pt>
                <c:pt idx="444">
                  <c:v>2.2652035130309813</c:v>
                </c:pt>
                <c:pt idx="445">
                  <c:v>2.2402249374772452</c:v>
                </c:pt>
                <c:pt idx="446">
                  <c:v>2.234623954858117</c:v>
                </c:pt>
                <c:pt idx="447">
                  <c:v>2.2245372919327293</c:v>
                </c:pt>
                <c:pt idx="448">
                  <c:v>2.2108153200155267</c:v>
                </c:pt>
                <c:pt idx="449">
                  <c:v>2.179826328682287</c:v>
                </c:pt>
                <c:pt idx="450">
                  <c:v>2.1445058384523179</c:v>
                </c:pt>
                <c:pt idx="451">
                  <c:v>2.0775540967646013</c:v>
                </c:pt>
                <c:pt idx="452">
                  <c:v>2.0799924004800854</c:v>
                </c:pt>
                <c:pt idx="453">
                  <c:v>2.0915860064598215</c:v>
                </c:pt>
                <c:pt idx="454">
                  <c:v>1.994400444706705</c:v>
                </c:pt>
                <c:pt idx="455">
                  <c:v>1.9660169786959039</c:v>
                </c:pt>
                <c:pt idx="456">
                  <c:v>2.0802453070888194</c:v>
                </c:pt>
                <c:pt idx="457">
                  <c:v>2.1077645993672047</c:v>
                </c:pt>
                <c:pt idx="458">
                  <c:v>2.1412348919149333</c:v>
                </c:pt>
                <c:pt idx="459">
                  <c:v>2.1274540197288907</c:v>
                </c:pt>
                <c:pt idx="460">
                  <c:v>2.1357718560528971</c:v>
                </c:pt>
                <c:pt idx="461">
                  <c:v>2.0951516632616416</c:v>
                </c:pt>
                <c:pt idx="462">
                  <c:v>2.0967412188815708</c:v>
                </c:pt>
                <c:pt idx="463">
                  <c:v>2.0549947262180255</c:v>
                </c:pt>
                <c:pt idx="464">
                  <c:v>2.1448346694968454</c:v>
                </c:pt>
                <c:pt idx="465">
                  <c:v>2.1505952085681268</c:v>
                </c:pt>
                <c:pt idx="466">
                  <c:v>2.2337042746833937</c:v>
                </c:pt>
                <c:pt idx="467">
                  <c:v>2.2026564098397459</c:v>
                </c:pt>
                <c:pt idx="468">
                  <c:v>2.2755966004341133</c:v>
                </c:pt>
                <c:pt idx="469">
                  <c:v>2.2284910407715994</c:v>
                </c:pt>
                <c:pt idx="470">
                  <c:v>2.2451640186196706</c:v>
                </c:pt>
                <c:pt idx="471">
                  <c:v>2.31580934594361</c:v>
                </c:pt>
                <c:pt idx="472">
                  <c:v>2.3061759301748097</c:v>
                </c:pt>
                <c:pt idx="473">
                  <c:v>2.3053550110531251</c:v>
                </c:pt>
                <c:pt idx="474">
                  <c:v>2.2488318743490066</c:v>
                </c:pt>
                <c:pt idx="475">
                  <c:v>2.2036274144474142</c:v>
                </c:pt>
                <c:pt idx="476">
                  <c:v>2.2167449137709054</c:v>
                </c:pt>
                <c:pt idx="477">
                  <c:v>2.2013945854894206</c:v>
                </c:pt>
                <c:pt idx="478">
                  <c:v>2.1991454077359052</c:v>
                </c:pt>
                <c:pt idx="479">
                  <c:v>2.2042146386998542</c:v>
                </c:pt>
                <c:pt idx="480">
                  <c:v>2.1896086099846217</c:v>
                </c:pt>
                <c:pt idx="481">
                  <c:v>2.164190018991289</c:v>
                </c:pt>
                <c:pt idx="482">
                  <c:v>2.0651588710616018</c:v>
                </c:pt>
                <c:pt idx="483">
                  <c:v>2.0304568946205053</c:v>
                </c:pt>
                <c:pt idx="484">
                  <c:v>2.0145899862669761</c:v>
                </c:pt>
                <c:pt idx="485">
                  <c:v>1.9691165449769856</c:v>
                </c:pt>
                <c:pt idx="486">
                  <c:v>1.9326519437472915</c:v>
                </c:pt>
                <c:pt idx="487">
                  <c:v>1.8768192402892867</c:v>
                </c:pt>
                <c:pt idx="488">
                  <c:v>1.8790117842782272</c:v>
                </c:pt>
                <c:pt idx="489">
                  <c:v>1.8521903008116705</c:v>
                </c:pt>
                <c:pt idx="490">
                  <c:v>1.9159228900365921</c:v>
                </c:pt>
                <c:pt idx="491">
                  <c:v>1.9500147727017632</c:v>
                </c:pt>
                <c:pt idx="492">
                  <c:v>1.953822470838616</c:v>
                </c:pt>
                <c:pt idx="493">
                  <c:v>1.982795671239526</c:v>
                </c:pt>
                <c:pt idx="494">
                  <c:v>1.8485716272005925</c:v>
                </c:pt>
                <c:pt idx="495">
                  <c:v>1.8633731750850868</c:v>
                </c:pt>
                <c:pt idx="496">
                  <c:v>1.7884750789982997</c:v>
                </c:pt>
                <c:pt idx="497">
                  <c:v>1.7356459862672684</c:v>
                </c:pt>
                <c:pt idx="498">
                  <c:v>1.6718239576290801</c:v>
                </c:pt>
                <c:pt idx="499">
                  <c:v>1.7171256698806885</c:v>
                </c:pt>
                <c:pt idx="500">
                  <c:v>1.5967413619952644</c:v>
                </c:pt>
                <c:pt idx="501">
                  <c:v>1.5221999898066672</c:v>
                </c:pt>
                <c:pt idx="502">
                  <c:v>1.6478778693836187</c:v>
                </c:pt>
                <c:pt idx="503">
                  <c:v>1.6610844866807131</c:v>
                </c:pt>
                <c:pt idx="504">
                  <c:v>1.7459599581744676</c:v>
                </c:pt>
                <c:pt idx="505">
                  <c:v>1.8324175195604879</c:v>
                </c:pt>
                <c:pt idx="506">
                  <c:v>1.804698279261066</c:v>
                </c:pt>
                <c:pt idx="507">
                  <c:v>1.8852403776353572</c:v>
                </c:pt>
                <c:pt idx="508">
                  <c:v>1.8860596121660784</c:v>
                </c:pt>
                <c:pt idx="509">
                  <c:v>1.9374919814320315</c:v>
                </c:pt>
                <c:pt idx="510">
                  <c:v>1.9849860122893848</c:v>
                </c:pt>
                <c:pt idx="511">
                  <c:v>2.0863200743068138</c:v>
                </c:pt>
                <c:pt idx="512">
                  <c:v>2.1664239219230348</c:v>
                </c:pt>
                <c:pt idx="513">
                  <c:v>2.1790062862585526</c:v>
                </c:pt>
                <c:pt idx="514">
                  <c:v>2.1734300617031246</c:v>
                </c:pt>
                <c:pt idx="515">
                  <c:v>2.1620403656719085</c:v>
                </c:pt>
                <c:pt idx="516">
                  <c:v>2.1245071288453863</c:v>
                </c:pt>
                <c:pt idx="517">
                  <c:v>2.1717760014064478</c:v>
                </c:pt>
                <c:pt idx="518">
                  <c:v>2.1743064699897636</c:v>
                </c:pt>
                <c:pt idx="519">
                  <c:v>2.1747612275567638</c:v>
                </c:pt>
                <c:pt idx="520">
                  <c:v>2.1980414782000604</c:v>
                </c:pt>
                <c:pt idx="521">
                  <c:v>2.1438436826707248</c:v>
                </c:pt>
                <c:pt idx="522">
                  <c:v>2.0741764718744706</c:v>
                </c:pt>
                <c:pt idx="523">
                  <c:v>2.0866954954243098</c:v>
                </c:pt>
                <c:pt idx="524">
                  <c:v>2.0748070190813359</c:v>
                </c:pt>
                <c:pt idx="525">
                  <c:v>2.1562434393929073</c:v>
                </c:pt>
                <c:pt idx="526">
                  <c:v>2.1183866239374831</c:v>
                </c:pt>
                <c:pt idx="527">
                  <c:v>2.1004999246618223</c:v>
                </c:pt>
                <c:pt idx="528">
                  <c:v>2.0878598455553101</c:v>
                </c:pt>
                <c:pt idx="529">
                  <c:v>2.0285111323993443</c:v>
                </c:pt>
                <c:pt idx="530">
                  <c:v>2.0552010679388695</c:v>
                </c:pt>
                <c:pt idx="531">
                  <c:v>2.1180727029357675</c:v>
                </c:pt>
                <c:pt idx="532">
                  <c:v>2.0742299636380159</c:v>
                </c:pt>
                <c:pt idx="533">
                  <c:v>2.0526839848719489</c:v>
                </c:pt>
                <c:pt idx="534">
                  <c:v>1.8893506961404896</c:v>
                </c:pt>
                <c:pt idx="535">
                  <c:v>1.9198204730671622</c:v>
                </c:pt>
                <c:pt idx="536">
                  <c:v>1.9255074622981383</c:v>
                </c:pt>
                <c:pt idx="537">
                  <c:v>1.9207694739090424</c:v>
                </c:pt>
                <c:pt idx="538">
                  <c:v>2.0461327100558817</c:v>
                </c:pt>
                <c:pt idx="539">
                  <c:v>2.0542949329882831</c:v>
                </c:pt>
                <c:pt idx="540">
                  <c:v>2.0519630342920117</c:v>
                </c:pt>
                <c:pt idx="541">
                  <c:v>1.9971972381834155</c:v>
                </c:pt>
                <c:pt idx="542">
                  <c:v>2.0908664754187019</c:v>
                </c:pt>
                <c:pt idx="543">
                  <c:v>2.1601826091146061</c:v>
                </c:pt>
                <c:pt idx="544">
                  <c:v>2.187854415643014</c:v>
                </c:pt>
                <c:pt idx="545">
                  <c:v>2.3025189719989125</c:v>
                </c:pt>
                <c:pt idx="546">
                  <c:v>2.303890918778758</c:v>
                </c:pt>
                <c:pt idx="547">
                  <c:v>2.2893029814707431</c:v>
                </c:pt>
                <c:pt idx="548">
                  <c:v>2.2934589647492056</c:v>
                </c:pt>
                <c:pt idx="549">
                  <c:v>2.291085644454836</c:v>
                </c:pt>
                <c:pt idx="550">
                  <c:v>2.2684252701029415</c:v>
                </c:pt>
                <c:pt idx="551">
                  <c:v>2.2795846391616466</c:v>
                </c:pt>
                <c:pt idx="552">
                  <c:v>2.2795332992338464</c:v>
                </c:pt>
                <c:pt idx="553">
                  <c:v>2.2514385171705702</c:v>
                </c:pt>
                <c:pt idx="554">
                  <c:v>2.2747870290113354</c:v>
                </c:pt>
                <c:pt idx="555">
                  <c:v>2.25333241712051</c:v>
                </c:pt>
                <c:pt idx="556">
                  <c:v>2.2958849447001555</c:v>
                </c:pt>
                <c:pt idx="557">
                  <c:v>2.3401362918725046</c:v>
                </c:pt>
                <c:pt idx="558">
                  <c:v>2.3180085988513524</c:v>
                </c:pt>
                <c:pt idx="559">
                  <c:v>2.289953193284572</c:v>
                </c:pt>
                <c:pt idx="560">
                  <c:v>2.3510127494419018</c:v>
                </c:pt>
                <c:pt idx="561">
                  <c:v>2.3548400746833034</c:v>
                </c:pt>
                <c:pt idx="562">
                  <c:v>2.4026773325201862</c:v>
                </c:pt>
                <c:pt idx="563">
                  <c:v>2.4797739043892477</c:v>
                </c:pt>
                <c:pt idx="564">
                  <c:v>2.5422706614151971</c:v>
                </c:pt>
                <c:pt idx="565">
                  <c:v>2.4729620639651873</c:v>
                </c:pt>
                <c:pt idx="566">
                  <c:v>2.4823661173968365</c:v>
                </c:pt>
                <c:pt idx="567">
                  <c:v>2.4483275863294827</c:v>
                </c:pt>
                <c:pt idx="568">
                  <c:v>2.3892832515548146</c:v>
                </c:pt>
                <c:pt idx="569">
                  <c:v>2.3861399606573221</c:v>
                </c:pt>
                <c:pt idx="570">
                  <c:v>2.3556214887118694</c:v>
                </c:pt>
                <c:pt idx="571">
                  <c:v>2.34782429109833</c:v>
                </c:pt>
                <c:pt idx="572">
                  <c:v>2.3281755204276364</c:v>
                </c:pt>
                <c:pt idx="573">
                  <c:v>2.2895974915509139</c:v>
                </c:pt>
                <c:pt idx="574">
                  <c:v>2.3132706392966029</c:v>
                </c:pt>
                <c:pt idx="575">
                  <c:v>2.3287250562431816</c:v>
                </c:pt>
                <c:pt idx="576">
                  <c:v>2.3611440119001812</c:v>
                </c:pt>
                <c:pt idx="577">
                  <c:v>2.3434177445694231</c:v>
                </c:pt>
                <c:pt idx="578">
                  <c:v>2.298676851040125</c:v>
                </c:pt>
                <c:pt idx="579">
                  <c:v>2.3081263258184483</c:v>
                </c:pt>
                <c:pt idx="580">
                  <c:v>2.2730654711795366</c:v>
                </c:pt>
                <c:pt idx="581">
                  <c:v>2.276949807850893</c:v>
                </c:pt>
                <c:pt idx="582">
                  <c:v>2.2693788499887573</c:v>
                </c:pt>
                <c:pt idx="583">
                  <c:v>2.2873665200479341</c:v>
                </c:pt>
                <c:pt idx="584">
                  <c:v>2.2802126262641917</c:v>
                </c:pt>
                <c:pt idx="585">
                  <c:v>2.2353597665334379</c:v>
                </c:pt>
                <c:pt idx="586">
                  <c:v>2.2168552142488567</c:v>
                </c:pt>
                <c:pt idx="587">
                  <c:v>2.1067460751982803</c:v>
                </c:pt>
                <c:pt idx="588">
                  <c:v>2.044698199882478</c:v>
                </c:pt>
                <c:pt idx="589">
                  <c:v>2.0281278449185365</c:v>
                </c:pt>
                <c:pt idx="590">
                  <c:v>2.0394428316922393</c:v>
                </c:pt>
                <c:pt idx="591">
                  <c:v>1.9502805404294756</c:v>
                </c:pt>
                <c:pt idx="592">
                  <c:v>1.820934175888097</c:v>
                </c:pt>
                <c:pt idx="593">
                  <c:v>1.7537988460266765</c:v>
                </c:pt>
                <c:pt idx="594">
                  <c:v>1.6964387510934928</c:v>
                </c:pt>
                <c:pt idx="595">
                  <c:v>1.7556785421983352</c:v>
                </c:pt>
                <c:pt idx="596">
                  <c:v>1.8523786181757149</c:v>
                </c:pt>
                <c:pt idx="597">
                  <c:v>1.9513415942086811</c:v>
                </c:pt>
                <c:pt idx="598">
                  <c:v>2.0373351914316045</c:v>
                </c:pt>
                <c:pt idx="599">
                  <c:v>2.0202264958461593</c:v>
                </c:pt>
                <c:pt idx="600">
                  <c:v>2.0265108145540944</c:v>
                </c:pt>
                <c:pt idx="601">
                  <c:v>2.0750541486352136</c:v>
                </c:pt>
                <c:pt idx="602">
                  <c:v>1.9994281504119196</c:v>
                </c:pt>
                <c:pt idx="603">
                  <c:v>2.1620986255070966</c:v>
                </c:pt>
                <c:pt idx="604">
                  <c:v>2.1172091801812281</c:v>
                </c:pt>
                <c:pt idx="605">
                  <c:v>2.0946915948088778</c:v>
                </c:pt>
                <c:pt idx="606">
                  <c:v>2.1460467985120917</c:v>
                </c:pt>
                <c:pt idx="607">
                  <c:v>2.1869505118051529</c:v>
                </c:pt>
                <c:pt idx="608">
                  <c:v>2.1908417546245542</c:v>
                </c:pt>
                <c:pt idx="609">
                  <c:v>2.2159829449418589</c:v>
                </c:pt>
                <c:pt idx="610">
                  <c:v>2.2238159257855235</c:v>
                </c:pt>
                <c:pt idx="611">
                  <c:v>2.2345069643236086</c:v>
                </c:pt>
                <c:pt idx="612">
                  <c:v>2.2234089703461621</c:v>
                </c:pt>
                <c:pt idx="613">
                  <c:v>2.1566874705077321</c:v>
                </c:pt>
                <c:pt idx="614">
                  <c:v>2.1507425577970154</c:v>
                </c:pt>
                <c:pt idx="615">
                  <c:v>2.0365857656129407</c:v>
                </c:pt>
                <c:pt idx="616">
                  <c:v>1.9987940697949154</c:v>
                </c:pt>
                <c:pt idx="617">
                  <c:v>1.9825196959973861</c:v>
                </c:pt>
                <c:pt idx="618">
                  <c:v>1.9431627434947112</c:v>
                </c:pt>
                <c:pt idx="619">
                  <c:v>1.8226537481555376</c:v>
                </c:pt>
                <c:pt idx="620">
                  <c:v>1.8823025742176094</c:v>
                </c:pt>
                <c:pt idx="621">
                  <c:v>1.896012424510344</c:v>
                </c:pt>
                <c:pt idx="622">
                  <c:v>1.9313051995773982</c:v>
                </c:pt>
                <c:pt idx="623">
                  <c:v>1.9186088061708084</c:v>
                </c:pt>
                <c:pt idx="624">
                  <c:v>1.8064395119845054</c:v>
                </c:pt>
                <c:pt idx="625">
                  <c:v>1.8600161080230084</c:v>
                </c:pt>
                <c:pt idx="626">
                  <c:v>1.8648163555421227</c:v>
                </c:pt>
                <c:pt idx="627">
                  <c:v>1.8643928938246714</c:v>
                </c:pt>
                <c:pt idx="628">
                  <c:v>1.8848775478478497</c:v>
                </c:pt>
                <c:pt idx="629">
                  <c:v>1.8846985260898552</c:v>
                </c:pt>
                <c:pt idx="630">
                  <c:v>1.9011562230195642</c:v>
                </c:pt>
                <c:pt idx="631">
                  <c:v>1.633034579509582</c:v>
                </c:pt>
                <c:pt idx="632">
                  <c:v>1.526949386083966</c:v>
                </c:pt>
                <c:pt idx="633">
                  <c:v>1.491304710871274</c:v>
                </c:pt>
                <c:pt idx="634">
                  <c:v>1.520875415991719</c:v>
                </c:pt>
                <c:pt idx="635">
                  <c:v>1.5160101224480855</c:v>
                </c:pt>
                <c:pt idx="636">
                  <c:v>1.5446491232123229</c:v>
                </c:pt>
                <c:pt idx="637">
                  <c:v>1.5560410656062829</c:v>
                </c:pt>
                <c:pt idx="638">
                  <c:v>1.6023090586304622</c:v>
                </c:pt>
                <c:pt idx="639">
                  <c:v>1.6026604650278227</c:v>
                </c:pt>
                <c:pt idx="640">
                  <c:v>1.6590554812209157</c:v>
                </c:pt>
                <c:pt idx="641">
                  <c:v>1.6349865330446578</c:v>
                </c:pt>
                <c:pt idx="642">
                  <c:v>1.6494629528055109</c:v>
                </c:pt>
                <c:pt idx="643">
                  <c:v>1.6567981036634611</c:v>
                </c:pt>
                <c:pt idx="644">
                  <c:v>1.6429011403397957</c:v>
                </c:pt>
                <c:pt idx="645">
                  <c:v>1.6427000273574934</c:v>
                </c:pt>
                <c:pt idx="646">
                  <c:v>1.6785651840872842</c:v>
                </c:pt>
                <c:pt idx="647">
                  <c:v>1.9437791006136775</c:v>
                </c:pt>
                <c:pt idx="648">
                  <c:v>1.9519992649656712</c:v>
                </c:pt>
                <c:pt idx="649">
                  <c:v>1.9226513469079316</c:v>
                </c:pt>
                <c:pt idx="650">
                  <c:v>2.0487639314506088</c:v>
                </c:pt>
                <c:pt idx="651">
                  <c:v>2.0941498668580962</c:v>
                </c:pt>
                <c:pt idx="652">
                  <c:v>2.265891580106508</c:v>
                </c:pt>
                <c:pt idx="653">
                  <c:v>2.2426713976026789</c:v>
                </c:pt>
                <c:pt idx="654">
                  <c:v>2.2657861822871652</c:v>
                </c:pt>
                <c:pt idx="655">
                  <c:v>2.2201324995953451</c:v>
                </c:pt>
                <c:pt idx="656">
                  <c:v>2.3864034131132867</c:v>
                </c:pt>
                <c:pt idx="657">
                  <c:v>2.3774349259666883</c:v>
                </c:pt>
                <c:pt idx="658">
                  <c:v>2.3341480210016767</c:v>
                </c:pt>
                <c:pt idx="659">
                  <c:v>2.359275456205975</c:v>
                </c:pt>
                <c:pt idx="660">
                  <c:v>2.3163061233753806</c:v>
                </c:pt>
                <c:pt idx="661">
                  <c:v>2.3967318871657231</c:v>
                </c:pt>
                <c:pt idx="662">
                  <c:v>2.4003691809400256</c:v>
                </c:pt>
                <c:pt idx="663">
                  <c:v>2.3980725137356096</c:v>
                </c:pt>
                <c:pt idx="664">
                  <c:v>2.441212598539539</c:v>
                </c:pt>
                <c:pt idx="665">
                  <c:v>2.4009684249882266</c:v>
                </c:pt>
                <c:pt idx="666">
                  <c:v>2.4627110586761289</c:v>
                </c:pt>
                <c:pt idx="667">
                  <c:v>2.4892793026809916</c:v>
                </c:pt>
                <c:pt idx="668">
                  <c:v>2.4076771546236726</c:v>
                </c:pt>
                <c:pt idx="669">
                  <c:v>2.4774833632038851</c:v>
                </c:pt>
                <c:pt idx="670">
                  <c:v>2.5481060976920626</c:v>
                </c:pt>
                <c:pt idx="671">
                  <c:v>2.4880431078856065</c:v>
                </c:pt>
                <c:pt idx="672">
                  <c:v>2.3577508107776004</c:v>
                </c:pt>
                <c:pt idx="673">
                  <c:v>2.3198516738648891</c:v>
                </c:pt>
                <c:pt idx="674">
                  <c:v>2.3708281393440749</c:v>
                </c:pt>
                <c:pt idx="675">
                  <c:v>2.3539536419917737</c:v>
                </c:pt>
                <c:pt idx="676">
                  <c:v>2.4325508618032639</c:v>
                </c:pt>
                <c:pt idx="677">
                  <c:v>2.3932599064782529</c:v>
                </c:pt>
                <c:pt idx="678">
                  <c:v>2.3960691821003084</c:v>
                </c:pt>
                <c:pt idx="679">
                  <c:v>2.3575087359151818</c:v>
                </c:pt>
                <c:pt idx="680">
                  <c:v>2.4062364745992504</c:v>
                </c:pt>
                <c:pt idx="681">
                  <c:v>2.4457589552332482</c:v>
                </c:pt>
                <c:pt idx="682">
                  <c:v>2.364206988430904</c:v>
                </c:pt>
                <c:pt idx="683">
                  <c:v>2.3509603833418651</c:v>
                </c:pt>
                <c:pt idx="684">
                  <c:v>2.3881733397780067</c:v>
                </c:pt>
                <c:pt idx="685">
                  <c:v>2.3891203960333716</c:v>
                </c:pt>
                <c:pt idx="686">
                  <c:v>2.3952241040447406</c:v>
                </c:pt>
                <c:pt idx="687">
                  <c:v>2.3622573744421431</c:v>
                </c:pt>
                <c:pt idx="688">
                  <c:v>2.3620217940247477</c:v>
                </c:pt>
                <c:pt idx="689">
                  <c:v>2.2708712170342262</c:v>
                </c:pt>
                <c:pt idx="690">
                  <c:v>2.2979475066723496</c:v>
                </c:pt>
                <c:pt idx="691">
                  <c:v>2.3171679303906405</c:v>
                </c:pt>
                <c:pt idx="692">
                  <c:v>2.4135428197400421</c:v>
                </c:pt>
                <c:pt idx="693">
                  <c:v>2.4656337648278064</c:v>
                </c:pt>
                <c:pt idx="694">
                  <c:v>2.4054642365284562</c:v>
                </c:pt>
                <c:pt idx="695">
                  <c:v>2.3926063243403579</c:v>
                </c:pt>
                <c:pt idx="696">
                  <c:v>2.3630560335721689</c:v>
                </c:pt>
                <c:pt idx="697">
                  <c:v>2.3755279994849623</c:v>
                </c:pt>
                <c:pt idx="698">
                  <c:v>2.3350305814040091</c:v>
                </c:pt>
                <c:pt idx="699">
                  <c:v>2.2775243834862362</c:v>
                </c:pt>
                <c:pt idx="700">
                  <c:v>2.2063941553163233</c:v>
                </c:pt>
                <c:pt idx="701">
                  <c:v>2.1538656123560833</c:v>
                </c:pt>
                <c:pt idx="702">
                  <c:v>2.1731506694315765</c:v>
                </c:pt>
                <c:pt idx="703">
                  <c:v>2.0891705097544744</c:v>
                </c:pt>
                <c:pt idx="704">
                  <c:v>2.0223210586204714</c:v>
                </c:pt>
                <c:pt idx="705">
                  <c:v>2.0099254048325648</c:v>
                </c:pt>
                <c:pt idx="706">
                  <c:v>1.9362014934002862</c:v>
                </c:pt>
                <c:pt idx="707">
                  <c:v>1.9192206747740337</c:v>
                </c:pt>
                <c:pt idx="708">
                  <c:v>1.957073381645569</c:v>
                </c:pt>
                <c:pt idx="709">
                  <c:v>1.9516901211177509</c:v>
                </c:pt>
                <c:pt idx="710">
                  <c:v>1.932950470307286</c:v>
                </c:pt>
                <c:pt idx="711">
                  <c:v>1.8857219263277065</c:v>
                </c:pt>
                <c:pt idx="712">
                  <c:v>1.8813018539609019</c:v>
                </c:pt>
                <c:pt idx="713">
                  <c:v>1.8889971042450302</c:v>
                </c:pt>
                <c:pt idx="714">
                  <c:v>1.8428241261581644</c:v>
                </c:pt>
                <c:pt idx="715">
                  <c:v>1.9183785623645675</c:v>
                </c:pt>
                <c:pt idx="716">
                  <c:v>1.9338147283126106</c:v>
                </c:pt>
                <c:pt idx="717">
                  <c:v>1.9329374961237999</c:v>
                </c:pt>
                <c:pt idx="718">
                  <c:v>1.9290404148695421</c:v>
                </c:pt>
                <c:pt idx="719">
                  <c:v>1.9273125525744661</c:v>
                </c:pt>
                <c:pt idx="720">
                  <c:v>1.9049296340812156</c:v>
                </c:pt>
                <c:pt idx="721">
                  <c:v>1.9235175656102956</c:v>
                </c:pt>
                <c:pt idx="722">
                  <c:v>1.8974275756820544</c:v>
                </c:pt>
                <c:pt idx="723">
                  <c:v>1.8565093991777424</c:v>
                </c:pt>
                <c:pt idx="724">
                  <c:v>1.9437583793307704</c:v>
                </c:pt>
                <c:pt idx="725">
                  <c:v>1.9700098778864714</c:v>
                </c:pt>
                <c:pt idx="726">
                  <c:v>2.0146679757075616</c:v>
                </c:pt>
                <c:pt idx="727">
                  <c:v>2.0097960908457257</c:v>
                </c:pt>
                <c:pt idx="728">
                  <c:v>2.1397356611353961</c:v>
                </c:pt>
                <c:pt idx="729">
                  <c:v>2.0687688833446272</c:v>
                </c:pt>
                <c:pt idx="730">
                  <c:v>2.146442221695307</c:v>
                </c:pt>
                <c:pt idx="731">
                  <c:v>2.1607682754589601</c:v>
                </c:pt>
                <c:pt idx="732">
                  <c:v>2.2845228696801803</c:v>
                </c:pt>
                <c:pt idx="733">
                  <c:v>2.3321168238368335</c:v>
                </c:pt>
                <c:pt idx="734">
                  <c:v>2.3245121427547728</c:v>
                </c:pt>
                <c:pt idx="735">
                  <c:v>2.3048257863830277</c:v>
                </c:pt>
                <c:pt idx="736">
                  <c:v>2.3275408838456979</c:v>
                </c:pt>
                <c:pt idx="737">
                  <c:v>2.3381063153385013</c:v>
                </c:pt>
                <c:pt idx="738">
                  <c:v>2.334906904703808</c:v>
                </c:pt>
                <c:pt idx="739">
                  <c:v>2.3318584816282084</c:v>
                </c:pt>
                <c:pt idx="740">
                  <c:v>2.3059173182154442</c:v>
                </c:pt>
                <c:pt idx="741">
                  <c:v>2.312145602871114</c:v>
                </c:pt>
                <c:pt idx="742">
                  <c:v>2.3401509054103964</c:v>
                </c:pt>
                <c:pt idx="743">
                  <c:v>2.3863088315346865</c:v>
                </c:pt>
                <c:pt idx="744">
                  <c:v>2.3906282936214738</c:v>
                </c:pt>
                <c:pt idx="745">
                  <c:v>2.3533399236889339</c:v>
                </c:pt>
                <c:pt idx="746">
                  <c:v>2.2533859559255918</c:v>
                </c:pt>
                <c:pt idx="747">
                  <c:v>2.2524182670580459</c:v>
                </c:pt>
                <c:pt idx="748">
                  <c:v>2.3360955572794064</c:v>
                </c:pt>
                <c:pt idx="749">
                  <c:v>2.3349020225944015</c:v>
                </c:pt>
                <c:pt idx="750">
                  <c:v>2.3546264253031368</c:v>
                </c:pt>
                <c:pt idx="751">
                  <c:v>2.293596473224786</c:v>
                </c:pt>
                <c:pt idx="752">
                  <c:v>2.2089676208657418</c:v>
                </c:pt>
                <c:pt idx="753">
                  <c:v>2.1652036331624234</c:v>
                </c:pt>
                <c:pt idx="754">
                  <c:v>2.1548790574545267</c:v>
                </c:pt>
                <c:pt idx="755">
                  <c:v>2.0689661378676139</c:v>
                </c:pt>
                <c:pt idx="756">
                  <c:v>2.0846710818546978</c:v>
                </c:pt>
                <c:pt idx="757">
                  <c:v>2.0097892846159402</c:v>
                </c:pt>
                <c:pt idx="758">
                  <c:v>1.9677730335340398</c:v>
                </c:pt>
                <c:pt idx="759">
                  <c:v>2.0296066429968294</c:v>
                </c:pt>
                <c:pt idx="760">
                  <c:v>1.9936585129286055</c:v>
                </c:pt>
                <c:pt idx="761">
                  <c:v>1.9276422626345835</c:v>
                </c:pt>
                <c:pt idx="762">
                  <c:v>1.7969185069034637</c:v>
                </c:pt>
                <c:pt idx="763">
                  <c:v>1.7072055453868691</c:v>
                </c:pt>
                <c:pt idx="764">
                  <c:v>1.7628841753104454</c:v>
                </c:pt>
                <c:pt idx="765">
                  <c:v>1.7670722437465733</c:v>
                </c:pt>
                <c:pt idx="766">
                  <c:v>1.7741613576126645</c:v>
                </c:pt>
                <c:pt idx="767">
                  <c:v>1.7969194584704908</c:v>
                </c:pt>
                <c:pt idx="768">
                  <c:v>1.7406443864881711</c:v>
                </c:pt>
                <c:pt idx="769">
                  <c:v>1.7448741851248384</c:v>
                </c:pt>
                <c:pt idx="770">
                  <c:v>1.7750783113159432</c:v>
                </c:pt>
                <c:pt idx="771">
                  <c:v>1.7859127032215394</c:v>
                </c:pt>
                <c:pt idx="772">
                  <c:v>1.7079321979793154</c:v>
                </c:pt>
                <c:pt idx="773">
                  <c:v>1.6876189606205061</c:v>
                </c:pt>
                <c:pt idx="774">
                  <c:v>1.7163678205145303</c:v>
                </c:pt>
                <c:pt idx="775">
                  <c:v>1.7375877449135801</c:v>
                </c:pt>
                <c:pt idx="776">
                  <c:v>1.811382899328432</c:v>
                </c:pt>
                <c:pt idx="777">
                  <c:v>1.8057085207995114</c:v>
                </c:pt>
                <c:pt idx="778">
                  <c:v>1.7579456606387245</c:v>
                </c:pt>
                <c:pt idx="779">
                  <c:v>1.7568170091417492</c:v>
                </c:pt>
                <c:pt idx="780">
                  <c:v>1.7618185376773672</c:v>
                </c:pt>
                <c:pt idx="781">
                  <c:v>1.8213870389627589</c:v>
                </c:pt>
                <c:pt idx="782">
                  <c:v>1.8444678761058722</c:v>
                </c:pt>
                <c:pt idx="783">
                  <c:v>1.8538282055961837</c:v>
                </c:pt>
                <c:pt idx="784">
                  <c:v>1.7819172343610796</c:v>
                </c:pt>
                <c:pt idx="785">
                  <c:v>1.8718638380435602</c:v>
                </c:pt>
                <c:pt idx="786">
                  <c:v>1.8640004231913283</c:v>
                </c:pt>
                <c:pt idx="787">
                  <c:v>1.8816686041947339</c:v>
                </c:pt>
                <c:pt idx="788">
                  <c:v>1.8333146626336696</c:v>
                </c:pt>
                <c:pt idx="789">
                  <c:v>1.8687461106898122</c:v>
                </c:pt>
                <c:pt idx="790">
                  <c:v>1.8582886803741578</c:v>
                </c:pt>
                <c:pt idx="791">
                  <c:v>1.9772780720330372</c:v>
                </c:pt>
                <c:pt idx="792">
                  <c:v>2.0089607375429419</c:v>
                </c:pt>
                <c:pt idx="793">
                  <c:v>2.0073645163996487</c:v>
                </c:pt>
                <c:pt idx="794">
                  <c:v>1.9637157962184004</c:v>
                </c:pt>
                <c:pt idx="795">
                  <c:v>1.9780827200268789</c:v>
                </c:pt>
                <c:pt idx="796">
                  <c:v>1.9995538592355226</c:v>
                </c:pt>
                <c:pt idx="797">
                  <c:v>1.9944333093200592</c:v>
                </c:pt>
                <c:pt idx="798">
                  <c:v>2.026563314499108</c:v>
                </c:pt>
                <c:pt idx="799">
                  <c:v>2.0128440997282855</c:v>
                </c:pt>
                <c:pt idx="800">
                  <c:v>2.0191127226947629</c:v>
                </c:pt>
                <c:pt idx="801">
                  <c:v>2.0286277340898651</c:v>
                </c:pt>
                <c:pt idx="802">
                  <c:v>2.0983223269607079</c:v>
                </c:pt>
                <c:pt idx="803">
                  <c:v>2.1513013860574075</c:v>
                </c:pt>
                <c:pt idx="804">
                  <c:v>2.1405043577790583</c:v>
                </c:pt>
                <c:pt idx="805">
                  <c:v>2.1204347582909353</c:v>
                </c:pt>
                <c:pt idx="806">
                  <c:v>2.0592053755658726</c:v>
                </c:pt>
                <c:pt idx="807">
                  <c:v>2.0589747984083426</c:v>
                </c:pt>
                <c:pt idx="808">
                  <c:v>2.0662922345026877</c:v>
                </c:pt>
                <c:pt idx="809">
                  <c:v>2.1141326256435948</c:v>
                </c:pt>
                <c:pt idx="810">
                  <c:v>2.1049391630217733</c:v>
                </c:pt>
                <c:pt idx="811">
                  <c:v>2.0548274743791235</c:v>
                </c:pt>
                <c:pt idx="812">
                  <c:v>2.1085940574282112</c:v>
                </c:pt>
                <c:pt idx="813">
                  <c:v>2.0639993880629413</c:v>
                </c:pt>
                <c:pt idx="814">
                  <c:v>2.0632760377563351</c:v>
                </c:pt>
                <c:pt idx="815">
                  <c:v>2.0666121823931296</c:v>
                </c:pt>
                <c:pt idx="816">
                  <c:v>2.1019646841444146</c:v>
                </c:pt>
                <c:pt idx="817">
                  <c:v>2.0783385703660384</c:v>
                </c:pt>
                <c:pt idx="818">
                  <c:v>2.1379217955471952</c:v>
                </c:pt>
                <c:pt idx="819">
                  <c:v>2.1076080255224627</c:v>
                </c:pt>
                <c:pt idx="820">
                  <c:v>2.081269771209167</c:v>
                </c:pt>
                <c:pt idx="821">
                  <c:v>1.9710164537920583</c:v>
                </c:pt>
                <c:pt idx="822">
                  <c:v>2.0386020128066096</c:v>
                </c:pt>
                <c:pt idx="823">
                  <c:v>2.0486637775601961</c:v>
                </c:pt>
                <c:pt idx="824">
                  <c:v>2.0579248337705618</c:v>
                </c:pt>
                <c:pt idx="825">
                  <c:v>2.0883893772325073</c:v>
                </c:pt>
                <c:pt idx="826">
                  <c:v>2.0517277540793497</c:v>
                </c:pt>
                <c:pt idx="827">
                  <c:v>2.0630057635569665</c:v>
                </c:pt>
                <c:pt idx="828">
                  <c:v>2.0578287263911514</c:v>
                </c:pt>
                <c:pt idx="829">
                  <c:v>2.0505569704466162</c:v>
                </c:pt>
                <c:pt idx="830">
                  <c:v>2.0271707149690172</c:v>
                </c:pt>
                <c:pt idx="831">
                  <c:v>1.9851839355355032</c:v>
                </c:pt>
                <c:pt idx="832">
                  <c:v>1.9076384981170902</c:v>
                </c:pt>
                <c:pt idx="833">
                  <c:v>1.8400189160645193</c:v>
                </c:pt>
                <c:pt idx="834">
                  <c:v>1.883665492405783</c:v>
                </c:pt>
                <c:pt idx="835">
                  <c:v>1.9175390524990183</c:v>
                </c:pt>
                <c:pt idx="836">
                  <c:v>1.9549330130210198</c:v>
                </c:pt>
                <c:pt idx="837">
                  <c:v>2.0437970760518933</c:v>
                </c:pt>
                <c:pt idx="838">
                  <c:v>2.0564112444332694</c:v>
                </c:pt>
                <c:pt idx="839">
                  <c:v>2.0771579073283792</c:v>
                </c:pt>
                <c:pt idx="840">
                  <c:v>2.0666886683452397</c:v>
                </c:pt>
                <c:pt idx="841">
                  <c:v>2.1490365577908985</c:v>
                </c:pt>
                <c:pt idx="842">
                  <c:v>2.0693210200893239</c:v>
                </c:pt>
                <c:pt idx="843">
                  <c:v>2.0888944908222142</c:v>
                </c:pt>
                <c:pt idx="844">
                  <c:v>2.089327374114224</c:v>
                </c:pt>
                <c:pt idx="845">
                  <c:v>1.9776600708771603</c:v>
                </c:pt>
                <c:pt idx="846">
                  <c:v>1.8970622696839483</c:v>
                </c:pt>
                <c:pt idx="847">
                  <c:v>1.9452098987767934</c:v>
                </c:pt>
                <c:pt idx="848">
                  <c:v>1.9031096030705927</c:v>
                </c:pt>
                <c:pt idx="849">
                  <c:v>1.8650980327066835</c:v>
                </c:pt>
                <c:pt idx="850">
                  <c:v>1.8863506061414967</c:v>
                </c:pt>
                <c:pt idx="851">
                  <c:v>1.8899423820996499</c:v>
                </c:pt>
                <c:pt idx="852">
                  <c:v>1.8272688282682701</c:v>
                </c:pt>
                <c:pt idx="853">
                  <c:v>1.9236950488131803</c:v>
                </c:pt>
                <c:pt idx="854">
                  <c:v>1.9288364350951146</c:v>
                </c:pt>
                <c:pt idx="855">
                  <c:v>1.9257797691320384</c:v>
                </c:pt>
                <c:pt idx="856">
                  <c:v>1.9743636703318668</c:v>
                </c:pt>
                <c:pt idx="857">
                  <c:v>2.0329670134886424</c:v>
                </c:pt>
                <c:pt idx="858">
                  <c:v>2.0279795498060271</c:v>
                </c:pt>
                <c:pt idx="859">
                  <c:v>2.0324601525915145</c:v>
                </c:pt>
                <c:pt idx="860">
                  <c:v>2.0583142950596911</c:v>
                </c:pt>
                <c:pt idx="861">
                  <c:v>2.1254065709997731</c:v>
                </c:pt>
                <c:pt idx="862">
                  <c:v>2.1656892520290469</c:v>
                </c:pt>
                <c:pt idx="863">
                  <c:v>2.2114752066282981</c:v>
                </c:pt>
                <c:pt idx="864">
                  <c:v>2.1493526742720235</c:v>
                </c:pt>
                <c:pt idx="865">
                  <c:v>2.2160516177403857</c:v>
                </c:pt>
                <c:pt idx="866">
                  <c:v>2.2834914163078976</c:v>
                </c:pt>
                <c:pt idx="867">
                  <c:v>2.2153985827820586</c:v>
                </c:pt>
                <c:pt idx="868">
                  <c:v>2.2015310268024759</c:v>
                </c:pt>
                <c:pt idx="869">
                  <c:v>2.120279926530257</c:v>
                </c:pt>
                <c:pt idx="870">
                  <c:v>2.1020873340264923</c:v>
                </c:pt>
                <c:pt idx="871">
                  <c:v>2.0683101111930609</c:v>
                </c:pt>
                <c:pt idx="872">
                  <c:v>2.061833183081291</c:v>
                </c:pt>
                <c:pt idx="873">
                  <c:v>2.1151837910308067</c:v>
                </c:pt>
                <c:pt idx="874">
                  <c:v>2.0968933490972681</c:v>
                </c:pt>
                <c:pt idx="875">
                  <c:v>2.0895401452063078</c:v>
                </c:pt>
                <c:pt idx="876">
                  <c:v>2.1256805301710866</c:v>
                </c:pt>
                <c:pt idx="877">
                  <c:v>2.033021215729895</c:v>
                </c:pt>
                <c:pt idx="878">
                  <c:v>2.0734403620382293</c:v>
                </c:pt>
                <c:pt idx="879">
                  <c:v>2.0869268333761686</c:v>
                </c:pt>
                <c:pt idx="880">
                  <c:v>2.082577558362801</c:v>
                </c:pt>
                <c:pt idx="881">
                  <c:v>2.1353031895304153</c:v>
                </c:pt>
                <c:pt idx="882">
                  <c:v>2.1651537051934979</c:v>
                </c:pt>
                <c:pt idx="883">
                  <c:v>2.121551935760694</c:v>
                </c:pt>
                <c:pt idx="884">
                  <c:v>2.110483181868084</c:v>
                </c:pt>
                <c:pt idx="885">
                  <c:v>2.0946673778806595</c:v>
                </c:pt>
                <c:pt idx="886">
                  <c:v>2.0490087314624095</c:v>
                </c:pt>
                <c:pt idx="887">
                  <c:v>1.9943388101890205</c:v>
                </c:pt>
                <c:pt idx="888">
                  <c:v>1.970102843803087</c:v>
                </c:pt>
                <c:pt idx="889">
                  <c:v>1.9596286358937007</c:v>
                </c:pt>
                <c:pt idx="890">
                  <c:v>1.9676015540164884</c:v>
                </c:pt>
                <c:pt idx="891">
                  <c:v>1.9000351473903085</c:v>
                </c:pt>
                <c:pt idx="892">
                  <c:v>1.9304754445981056</c:v>
                </c:pt>
                <c:pt idx="893">
                  <c:v>1.8804206341096981</c:v>
                </c:pt>
                <c:pt idx="894">
                  <c:v>1.9325791973285311</c:v>
                </c:pt>
                <c:pt idx="895">
                  <c:v>1.8615036347732845</c:v>
                </c:pt>
                <c:pt idx="896">
                  <c:v>1.804673855547833</c:v>
                </c:pt>
                <c:pt idx="897">
                  <c:v>1.7289563372592582</c:v>
                </c:pt>
                <c:pt idx="898">
                  <c:v>1.7495086365232659</c:v>
                </c:pt>
                <c:pt idx="899">
                  <c:v>1.737506284786956</c:v>
                </c:pt>
                <c:pt idx="900">
                  <c:v>1.8446347351102095</c:v>
                </c:pt>
                <c:pt idx="901">
                  <c:v>1.8427560815939652</c:v>
                </c:pt>
                <c:pt idx="902">
                  <c:v>1.8269153879451412</c:v>
                </c:pt>
                <c:pt idx="903">
                  <c:v>1.8017016960681635</c:v>
                </c:pt>
                <c:pt idx="904">
                  <c:v>1.8599368433554446</c:v>
                </c:pt>
                <c:pt idx="905">
                  <c:v>1.8601616561228891</c:v>
                </c:pt>
                <c:pt idx="906">
                  <c:v>1.9260271797808775</c:v>
                </c:pt>
                <c:pt idx="907">
                  <c:v>1.9473721737780616</c:v>
                </c:pt>
                <c:pt idx="908">
                  <c:v>1.9611018319236544</c:v>
                </c:pt>
                <c:pt idx="909">
                  <c:v>1.9806066489398246</c:v>
                </c:pt>
                <c:pt idx="910">
                  <c:v>2.0539804662352279</c:v>
                </c:pt>
                <c:pt idx="911">
                  <c:v>1.9739965291131343</c:v>
                </c:pt>
                <c:pt idx="912">
                  <c:v>2.0118604343103761</c:v>
                </c:pt>
                <c:pt idx="913">
                  <c:v>1.9983144792676466</c:v>
                </c:pt>
                <c:pt idx="914">
                  <c:v>1.9949265944922308</c:v>
                </c:pt>
                <c:pt idx="915">
                  <c:v>1.957848682573516</c:v>
                </c:pt>
                <c:pt idx="916">
                  <c:v>1.9953836720941851</c:v>
                </c:pt>
                <c:pt idx="917">
                  <c:v>1.9685668971066632</c:v>
                </c:pt>
                <c:pt idx="918">
                  <c:v>2.0283226824056486</c:v>
                </c:pt>
                <c:pt idx="919">
                  <c:v>2.032187556278418</c:v>
                </c:pt>
                <c:pt idx="920">
                  <c:v>2.0243852995836353</c:v>
                </c:pt>
                <c:pt idx="921">
                  <c:v>2.0324866997985467</c:v>
                </c:pt>
                <c:pt idx="922">
                  <c:v>2.0020664730321629</c:v>
                </c:pt>
                <c:pt idx="923">
                  <c:v>2.0775105671788565</c:v>
                </c:pt>
                <c:pt idx="924">
                  <c:v>1.9933527799677486</c:v>
                </c:pt>
                <c:pt idx="925">
                  <c:v>1.9573261549448031</c:v>
                </c:pt>
                <c:pt idx="926">
                  <c:v>1.9429676778009457</c:v>
                </c:pt>
                <c:pt idx="927">
                  <c:v>2.022805758518627</c:v>
                </c:pt>
                <c:pt idx="928">
                  <c:v>1.9847470999176977</c:v>
                </c:pt>
                <c:pt idx="929">
                  <c:v>2.0184372926123397</c:v>
                </c:pt>
                <c:pt idx="930">
                  <c:v>1.9931464218358819</c:v>
                </c:pt>
                <c:pt idx="931">
                  <c:v>1.9892796183113672</c:v>
                </c:pt>
                <c:pt idx="932">
                  <c:v>1.989279618311367</c:v>
                </c:pt>
                <c:pt idx="933">
                  <c:v>2.011087722900498</c:v>
                </c:pt>
                <c:pt idx="934">
                  <c:v>1.9799086790823133</c:v>
                </c:pt>
                <c:pt idx="935">
                  <c:v>1.9805920684428702</c:v>
                </c:pt>
                <c:pt idx="936">
                  <c:v>1.8802205748497567</c:v>
                </c:pt>
                <c:pt idx="937">
                  <c:v>1.9411601153257396</c:v>
                </c:pt>
                <c:pt idx="938">
                  <c:v>1.917336425452524</c:v>
                </c:pt>
                <c:pt idx="939">
                  <c:v>1.9644691333707855</c:v>
                </c:pt>
                <c:pt idx="940">
                  <c:v>1.9101083023241832</c:v>
                </c:pt>
                <c:pt idx="941">
                  <c:v>1.9293012923786714</c:v>
                </c:pt>
                <c:pt idx="942">
                  <c:v>1.9028148817499768</c:v>
                </c:pt>
                <c:pt idx="943">
                  <c:v>1.8996451399254166</c:v>
                </c:pt>
                <c:pt idx="944">
                  <c:v>1.8869572280545386</c:v>
                </c:pt>
                <c:pt idx="945">
                  <c:v>1.8823757496843994</c:v>
                </c:pt>
                <c:pt idx="946">
                  <c:v>1.7988371110326018</c:v>
                </c:pt>
                <c:pt idx="947">
                  <c:v>1.911954264099426</c:v>
                </c:pt>
                <c:pt idx="948">
                  <c:v>1.8704621538904502</c:v>
                </c:pt>
                <c:pt idx="949">
                  <c:v>1.8642511410481688</c:v>
                </c:pt>
                <c:pt idx="950">
                  <c:v>1.8610933027555865</c:v>
                </c:pt>
                <c:pt idx="951">
                  <c:v>1.9061364410375845</c:v>
                </c:pt>
                <c:pt idx="952">
                  <c:v>1.8840519506202789</c:v>
                </c:pt>
                <c:pt idx="953">
                  <c:v>1.8214295966697653</c:v>
                </c:pt>
                <c:pt idx="954">
                  <c:v>1.8556790642750369</c:v>
                </c:pt>
                <c:pt idx="955">
                  <c:v>1.9364569911905816</c:v>
                </c:pt>
                <c:pt idx="956">
                  <c:v>2.0451017924085861</c:v>
                </c:pt>
                <c:pt idx="957">
                  <c:v>1.9964658619831255</c:v>
                </c:pt>
                <c:pt idx="958">
                  <c:v>2.0744597610186353</c:v>
                </c:pt>
                <c:pt idx="959">
                  <c:v>2.0377667206874976</c:v>
                </c:pt>
                <c:pt idx="960">
                  <c:v>2.085640903087469</c:v>
                </c:pt>
                <c:pt idx="961">
                  <c:v>2.1332290750623479</c:v>
                </c:pt>
                <c:pt idx="962">
                  <c:v>2.1953523971814612</c:v>
                </c:pt>
                <c:pt idx="963">
                  <c:v>2.2279948075666449</c:v>
                </c:pt>
                <c:pt idx="964">
                  <c:v>2.2033922050060464</c:v>
                </c:pt>
                <c:pt idx="965">
                  <c:v>2.2033922050060464</c:v>
                </c:pt>
                <c:pt idx="966">
                  <c:v>2.2018727402300811</c:v>
                </c:pt>
                <c:pt idx="967">
                  <c:v>2.1587393983233958</c:v>
                </c:pt>
                <c:pt idx="968">
                  <c:v>2.25382231298827</c:v>
                </c:pt>
                <c:pt idx="969">
                  <c:v>2.2757088905850735</c:v>
                </c:pt>
                <c:pt idx="970">
                  <c:v>2.2725596594410074</c:v>
                </c:pt>
                <c:pt idx="971">
                  <c:v>2.2430383524656259</c:v>
                </c:pt>
                <c:pt idx="972">
                  <c:v>2.2368857016515742</c:v>
                </c:pt>
                <c:pt idx="973">
                  <c:v>2.2559139844830405</c:v>
                </c:pt>
                <c:pt idx="974">
                  <c:v>2.2699731693166965</c:v>
                </c:pt>
                <c:pt idx="975">
                  <c:v>2.3266162867311251</c:v>
                </c:pt>
                <c:pt idx="976">
                  <c:v>2.3480625096362542</c:v>
                </c:pt>
                <c:pt idx="977">
                  <c:v>2.2909572733816206</c:v>
                </c:pt>
                <c:pt idx="978">
                  <c:v>2.2661182065456797</c:v>
                </c:pt>
                <c:pt idx="979">
                  <c:v>2.2757438705485549</c:v>
                </c:pt>
                <c:pt idx="980">
                  <c:v>2.2794126125120973</c:v>
                </c:pt>
                <c:pt idx="981">
                  <c:v>2.2638245694820762</c:v>
                </c:pt>
                <c:pt idx="982">
                  <c:v>2.2521202447995958</c:v>
                </c:pt>
                <c:pt idx="983">
                  <c:v>2.295218782185747</c:v>
                </c:pt>
                <c:pt idx="984">
                  <c:v>2.3213266516730156</c:v>
                </c:pt>
                <c:pt idx="985">
                  <c:v>2.2435452308370833</c:v>
                </c:pt>
                <c:pt idx="986">
                  <c:v>2.1571877769814494</c:v>
                </c:pt>
                <c:pt idx="987">
                  <c:v>2.1553064451530535</c:v>
                </c:pt>
                <c:pt idx="988">
                  <c:v>2.0684027004351639</c:v>
                </c:pt>
                <c:pt idx="989">
                  <c:v>2.0703331789435082</c:v>
                </c:pt>
                <c:pt idx="990">
                  <c:v>1.9800721843961644</c:v>
                </c:pt>
                <c:pt idx="991">
                  <c:v>1.9624618183125908</c:v>
                </c:pt>
                <c:pt idx="992">
                  <c:v>2.0040877765437219</c:v>
                </c:pt>
                <c:pt idx="993">
                  <c:v>1.9500264641258853</c:v>
                </c:pt>
                <c:pt idx="994">
                  <c:v>1.9158931410638971</c:v>
                </c:pt>
                <c:pt idx="995">
                  <c:v>1.9296813678527889</c:v>
                </c:pt>
                <c:pt idx="996">
                  <c:v>1.965910289862586</c:v>
                </c:pt>
                <c:pt idx="997">
                  <c:v>1.9851413473350012</c:v>
                </c:pt>
                <c:pt idx="998">
                  <c:v>1.881644371803497</c:v>
                </c:pt>
                <c:pt idx="999">
                  <c:v>1.7817679603951793</c:v>
                </c:pt>
                <c:pt idx="1000">
                  <c:v>1.7855871468805886</c:v>
                </c:pt>
                <c:pt idx="1001">
                  <c:v>1.7787020926018717</c:v>
                </c:pt>
                <c:pt idx="1002">
                  <c:v>1.7573178566232133</c:v>
                </c:pt>
                <c:pt idx="1003">
                  <c:v>1.8241699718651208</c:v>
                </c:pt>
                <c:pt idx="1004">
                  <c:v>1.8140107851709801</c:v>
                </c:pt>
                <c:pt idx="1005">
                  <c:v>1.8013685518619236</c:v>
                </c:pt>
                <c:pt idx="1006">
                  <c:v>1.8181550677237992</c:v>
                </c:pt>
                <c:pt idx="1007">
                  <c:v>1.8277409112359144</c:v>
                </c:pt>
                <c:pt idx="1008">
                  <c:v>1.830406551772199</c:v>
                </c:pt>
                <c:pt idx="1009">
                  <c:v>1.9402971708085808</c:v>
                </c:pt>
                <c:pt idx="1010">
                  <c:v>1.8954676383832227</c:v>
                </c:pt>
                <c:pt idx="1011">
                  <c:v>1.8510452144815124</c:v>
                </c:pt>
                <c:pt idx="1012">
                  <c:v>1.9232885021459833</c:v>
                </c:pt>
                <c:pt idx="1013">
                  <c:v>1.8823939169457053</c:v>
                </c:pt>
                <c:pt idx="1014">
                  <c:v>1.9270843345551554</c:v>
                </c:pt>
                <c:pt idx="1015">
                  <c:v>1.9765480722086382</c:v>
                </c:pt>
                <c:pt idx="1016">
                  <c:v>1.9609684263608123</c:v>
                </c:pt>
                <c:pt idx="1017">
                  <c:v>1.9292787415067678</c:v>
                </c:pt>
                <c:pt idx="1018">
                  <c:v>1.9268551035071766</c:v>
                </c:pt>
                <c:pt idx="1019">
                  <c:v>1.9724987708890773</c:v>
                </c:pt>
                <c:pt idx="1020">
                  <c:v>2.0654679565991376</c:v>
                </c:pt>
                <c:pt idx="1021">
                  <c:v>2.0452749485765982</c:v>
                </c:pt>
                <c:pt idx="1022">
                  <c:v>2.0236376498506425</c:v>
                </c:pt>
                <c:pt idx="1023">
                  <c:v>2.0386433909963451</c:v>
                </c:pt>
                <c:pt idx="1024">
                  <c:v>2.0425329186705765</c:v>
                </c:pt>
                <c:pt idx="1025">
                  <c:v>2.0265363146972555</c:v>
                </c:pt>
                <c:pt idx="1026">
                  <c:v>1.9987510111656461</c:v>
                </c:pt>
                <c:pt idx="1027">
                  <c:v>2.0220147735999827</c:v>
                </c:pt>
                <c:pt idx="1028">
                  <c:v>2.0254822913066133</c:v>
                </c:pt>
                <c:pt idx="1029">
                  <c:v>2.0546063926010603</c:v>
                </c:pt>
                <c:pt idx="1030">
                  <c:v>2.055063786439288</c:v>
                </c:pt>
                <c:pt idx="1031">
                  <c:v>2.101900690060496</c:v>
                </c:pt>
                <c:pt idx="1032">
                  <c:v>2.0673691951365898</c:v>
                </c:pt>
                <c:pt idx="1033">
                  <c:v>2.0927345627272573</c:v>
                </c:pt>
                <c:pt idx="1034">
                  <c:v>2.1685946365848645</c:v>
                </c:pt>
                <c:pt idx="1035">
                  <c:v>2.1437022403183281</c:v>
                </c:pt>
                <c:pt idx="1036">
                  <c:v>2.1266522865182731</c:v>
                </c:pt>
                <c:pt idx="1037">
                  <c:v>2.1162643295778718</c:v>
                </c:pt>
                <c:pt idx="1038">
                  <c:v>2.1414731135456169</c:v>
                </c:pt>
                <c:pt idx="1039">
                  <c:v>2.0384458118904414</c:v>
                </c:pt>
                <c:pt idx="1040">
                  <c:v>2.0364517073058348</c:v>
                </c:pt>
                <c:pt idx="1041">
                  <c:v>2.0349073013033996</c:v>
                </c:pt>
                <c:pt idx="1042">
                  <c:v>2.0023815022219846</c:v>
                </c:pt>
                <c:pt idx="1043">
                  <c:v>2.0788292186926203</c:v>
                </c:pt>
                <c:pt idx="1044">
                  <c:v>2.0684688330706442</c:v>
                </c:pt>
                <c:pt idx="1045">
                  <c:v>2.0136572739631982</c:v>
                </c:pt>
                <c:pt idx="1046">
                  <c:v>2.0418068950317569</c:v>
                </c:pt>
                <c:pt idx="1047">
                  <c:v>2.1664261143327557</c:v>
                </c:pt>
                <c:pt idx="1048">
                  <c:v>2.1815304582141168</c:v>
                </c:pt>
                <c:pt idx="1049">
                  <c:v>2.1919695053831583</c:v>
                </c:pt>
                <c:pt idx="1050">
                  <c:v>2.1266841794060696</c:v>
                </c:pt>
                <c:pt idx="1051">
                  <c:v>2.0886954799174267</c:v>
                </c:pt>
                <c:pt idx="1052">
                  <c:v>2.0410128483980503</c:v>
                </c:pt>
                <c:pt idx="1053">
                  <c:v>2.1302063384475498</c:v>
                </c:pt>
                <c:pt idx="1054">
                  <c:v>2.127239771467254</c:v>
                </c:pt>
                <c:pt idx="1055">
                  <c:v>2.2034110882158284</c:v>
                </c:pt>
                <c:pt idx="1056">
                  <c:v>2.2742524454044117</c:v>
                </c:pt>
                <c:pt idx="1057">
                  <c:v>2.1744480185619395</c:v>
                </c:pt>
                <c:pt idx="1058">
                  <c:v>2.1584640018204917</c:v>
                </c:pt>
                <c:pt idx="1059">
                  <c:v>2.0959069794019221</c:v>
                </c:pt>
                <c:pt idx="1060">
                  <c:v>2.1440180799425961</c:v>
                </c:pt>
                <c:pt idx="1061">
                  <c:v>2.1532582163174245</c:v>
                </c:pt>
                <c:pt idx="1062">
                  <c:v>2.186805862944321</c:v>
                </c:pt>
                <c:pt idx="1063">
                  <c:v>1.9908452965449974</c:v>
                </c:pt>
                <c:pt idx="1064">
                  <c:v>1.9969080307541922</c:v>
                </c:pt>
                <c:pt idx="1065">
                  <c:v>1.8040231366404251</c:v>
                </c:pt>
                <c:pt idx="1066">
                  <c:v>1.7879625575897893</c:v>
                </c:pt>
                <c:pt idx="1067">
                  <c:v>1.7256632219581207</c:v>
                </c:pt>
                <c:pt idx="1068">
                  <c:v>1.5765259359706894</c:v>
                </c:pt>
                <c:pt idx="1069">
                  <c:v>1.5434191526366887</c:v>
                </c:pt>
                <c:pt idx="1070">
                  <c:v>1.5300373048001101</c:v>
                </c:pt>
                <c:pt idx="1071">
                  <c:v>1.4903025246221087</c:v>
                </c:pt>
                <c:pt idx="1072">
                  <c:v>1.4994885293725211</c:v>
                </c:pt>
                <c:pt idx="1073">
                  <c:v>1.5054917990938326</c:v>
                </c:pt>
                <c:pt idx="1074">
                  <c:v>1.580830472687087</c:v>
                </c:pt>
                <c:pt idx="1075">
                  <c:v>1.5987504620178878</c:v>
                </c:pt>
                <c:pt idx="1076">
                  <c:v>1.5966442676001364</c:v>
                </c:pt>
                <c:pt idx="1077">
                  <c:v>1.589402660418969</c:v>
                </c:pt>
                <c:pt idx="1078">
                  <c:v>1.5784317394049263</c:v>
                </c:pt>
                <c:pt idx="1079">
                  <c:v>1.6440050307358636</c:v>
                </c:pt>
                <c:pt idx="1080">
                  <c:v>1.6410308455829359</c:v>
                </c:pt>
                <c:pt idx="1081">
                  <c:v>1.6176879243462445</c:v>
                </c:pt>
                <c:pt idx="1082">
                  <c:v>1.6205815041253711</c:v>
                </c:pt>
                <c:pt idx="1083">
                  <c:v>1.5949670295060521</c:v>
                </c:pt>
                <c:pt idx="1084">
                  <c:v>1.608809697427956</c:v>
                </c:pt>
                <c:pt idx="1085">
                  <c:v>1.5993116216522323</c:v>
                </c:pt>
                <c:pt idx="1086">
                  <c:v>1.6524440362281452</c:v>
                </c:pt>
                <c:pt idx="1087">
                  <c:v>1.6799132367323637</c:v>
                </c:pt>
                <c:pt idx="1088">
                  <c:v>1.7263589949660909</c:v>
                </c:pt>
                <c:pt idx="1089">
                  <c:v>1.915131112413311</c:v>
                </c:pt>
                <c:pt idx="1090">
                  <c:v>2.1121229961508372</c:v>
                </c:pt>
                <c:pt idx="1091">
                  <c:v>2.1261762484202582</c:v>
                </c:pt>
                <c:pt idx="1092">
                  <c:v>2.1589892403054995</c:v>
                </c:pt>
                <c:pt idx="1093">
                  <c:v>2.2953784503769792</c:v>
                </c:pt>
                <c:pt idx="1094">
                  <c:v>2.2884463716369385</c:v>
                </c:pt>
                <c:pt idx="1095">
                  <c:v>2.3880408794552226</c:v>
                </c:pt>
                <c:pt idx="1096">
                  <c:v>2.5051713210042958</c:v>
                </c:pt>
                <c:pt idx="1097">
                  <c:v>2.6108078556937397</c:v>
                </c:pt>
                <c:pt idx="1098">
                  <c:v>2.696906530672821</c:v>
                </c:pt>
                <c:pt idx="1099">
                  <c:v>2.63363603360084</c:v>
                </c:pt>
                <c:pt idx="1100">
                  <c:v>2.5514197903732865</c:v>
                </c:pt>
                <c:pt idx="1101">
                  <c:v>2.5686834568012507</c:v>
                </c:pt>
                <c:pt idx="1102">
                  <c:v>2.5640995750104976</c:v>
                </c:pt>
                <c:pt idx="1103">
                  <c:v>2.5334034028097294</c:v>
                </c:pt>
                <c:pt idx="1104">
                  <c:v>2.3774322888404806</c:v>
                </c:pt>
                <c:pt idx="1105">
                  <c:v>2.4196030581208317</c:v>
                </c:pt>
                <c:pt idx="1106">
                  <c:v>2.348932319927965</c:v>
                </c:pt>
                <c:pt idx="1107">
                  <c:v>2.3392885504764158</c:v>
                </c:pt>
                <c:pt idx="1108">
                  <c:v>2.3311142537232818</c:v>
                </c:pt>
                <c:pt idx="1109">
                  <c:v>2.0871215525300948</c:v>
                </c:pt>
                <c:pt idx="1110">
                  <c:v>2.0481673871227031</c:v>
                </c:pt>
                <c:pt idx="1111">
                  <c:v>1.9254687837115398</c:v>
                </c:pt>
                <c:pt idx="1112">
                  <c:v>1.835267268441704</c:v>
                </c:pt>
                <c:pt idx="1113">
                  <c:v>1.6999065123294885</c:v>
                </c:pt>
                <c:pt idx="1114">
                  <c:v>1.7008852795830378</c:v>
                </c:pt>
                <c:pt idx="1115">
                  <c:v>1.7099383167857045</c:v>
                </c:pt>
                <c:pt idx="1116">
                  <c:v>1.9158705315357072</c:v>
                </c:pt>
                <c:pt idx="1117">
                  <c:v>1.8896290177284523</c:v>
                </c:pt>
                <c:pt idx="1118">
                  <c:v>1.9921689567115313</c:v>
                </c:pt>
                <c:pt idx="1119">
                  <c:v>1.981351646217175</c:v>
                </c:pt>
                <c:pt idx="1120">
                  <c:v>1.9473277829997855</c:v>
                </c:pt>
                <c:pt idx="1121">
                  <c:v>1.9795558108629971</c:v>
                </c:pt>
                <c:pt idx="1122">
                  <c:v>2.1332085018574003</c:v>
                </c:pt>
                <c:pt idx="1123">
                  <c:v>2.2209969802336289</c:v>
                </c:pt>
                <c:pt idx="1124">
                  <c:v>2.3020920928971824</c:v>
                </c:pt>
                <c:pt idx="1125">
                  <c:v>2.268610189412795</c:v>
                </c:pt>
                <c:pt idx="1126">
                  <c:v>2.2183292172277906</c:v>
                </c:pt>
                <c:pt idx="1127">
                  <c:v>2.1630063271372726</c:v>
                </c:pt>
                <c:pt idx="1128">
                  <c:v>2.0986984979267427</c:v>
                </c:pt>
                <c:pt idx="1129">
                  <c:v>2.1194399822407131</c:v>
                </c:pt>
                <c:pt idx="1130">
                  <c:v>2.1385540694876011</c:v>
                </c:pt>
                <c:pt idx="1131">
                  <c:v>2.1450422004257401</c:v>
                </c:pt>
                <c:pt idx="1132">
                  <c:v>2.15717896977233</c:v>
                </c:pt>
                <c:pt idx="1133">
                  <c:v>2.1434111729333112</c:v>
                </c:pt>
                <c:pt idx="1134">
                  <c:v>2.2218056289161709</c:v>
                </c:pt>
                <c:pt idx="1135">
                  <c:v>2.2326969116278539</c:v>
                </c:pt>
                <c:pt idx="1136">
                  <c:v>2.2301975975715536</c:v>
                </c:pt>
                <c:pt idx="1137">
                  <c:v>2.2301975975715536</c:v>
                </c:pt>
                <c:pt idx="1138">
                  <c:v>2.1701237445340933</c:v>
                </c:pt>
                <c:pt idx="1139">
                  <c:v>2.200742035710229</c:v>
                </c:pt>
                <c:pt idx="1140">
                  <c:v>2.2161238890614952</c:v>
                </c:pt>
                <c:pt idx="1141">
                  <c:v>2.1965684784795036</c:v>
                </c:pt>
                <c:pt idx="1142">
                  <c:v>2.1027596572405884</c:v>
                </c:pt>
                <c:pt idx="1143">
                  <c:v>2.0504546803853638</c:v>
                </c:pt>
                <c:pt idx="1144">
                  <c:v>2.0458043588022203</c:v>
                </c:pt>
                <c:pt idx="1145">
                  <c:v>2.0986604764881083</c:v>
                </c:pt>
                <c:pt idx="1146">
                  <c:v>1.9985617513127305</c:v>
                </c:pt>
                <c:pt idx="1147">
                  <c:v>1.9963756463847453</c:v>
                </c:pt>
                <c:pt idx="1148">
                  <c:v>2.0399916368009747</c:v>
                </c:pt>
                <c:pt idx="1149">
                  <c:v>2.0804706046311052</c:v>
                </c:pt>
                <c:pt idx="1150">
                  <c:v>2.1426512333952035</c:v>
                </c:pt>
                <c:pt idx="1151">
                  <c:v>2.1344353333089092</c:v>
                </c:pt>
                <c:pt idx="1152">
                  <c:v>2.1178742808661886</c:v>
                </c:pt>
                <c:pt idx="1153">
                  <c:v>2.0260378787385491</c:v>
                </c:pt>
                <c:pt idx="1154">
                  <c:v>2.017752408966234</c:v>
                </c:pt>
                <c:pt idx="1155">
                  <c:v>2.0599733185517808</c:v>
                </c:pt>
                <c:pt idx="1156">
                  <c:v>2.0942864005886799</c:v>
                </c:pt>
                <c:pt idx="1157">
                  <c:v>2.1277808429592722</c:v>
                </c:pt>
                <c:pt idx="1158">
                  <c:v>2.1553127918564372</c:v>
                </c:pt>
                <c:pt idx="1159">
                  <c:v>2.1454316099583415</c:v>
                </c:pt>
                <c:pt idx="1160">
                  <c:v>2.1521596161958114</c:v>
                </c:pt>
                <c:pt idx="1161">
                  <c:v>2.1767146860248832</c:v>
                </c:pt>
                <c:pt idx="1162">
                  <c:v>2.2698694676168025</c:v>
                </c:pt>
                <c:pt idx="1163">
                  <c:v>2.2515522652840572</c:v>
                </c:pt>
                <c:pt idx="1164">
                  <c:v>2.2125752672382983</c:v>
                </c:pt>
                <c:pt idx="1165">
                  <c:v>2.1955883813815964</c:v>
                </c:pt>
                <c:pt idx="1166">
                  <c:v>2.2171110182437004</c:v>
                </c:pt>
                <c:pt idx="1167">
                  <c:v>2.251761266681672</c:v>
                </c:pt>
                <c:pt idx="1168">
                  <c:v>2.2543519652705237</c:v>
                </c:pt>
                <c:pt idx="1169">
                  <c:v>2.3169920523404679</c:v>
                </c:pt>
                <c:pt idx="1170">
                  <c:v>2.3338146852494419</c:v>
                </c:pt>
                <c:pt idx="1171">
                  <c:v>2.4200096799299531</c:v>
                </c:pt>
                <c:pt idx="1172">
                  <c:v>2.4594956855549088</c:v>
                </c:pt>
                <c:pt idx="1173">
                  <c:v>2.4582006918086052</c:v>
                </c:pt>
                <c:pt idx="1174">
                  <c:v>2.4454404446575762</c:v>
                </c:pt>
                <c:pt idx="1175">
                  <c:v>2.4291883454888441</c:v>
                </c:pt>
                <c:pt idx="1176">
                  <c:v>2.4736629245842687</c:v>
                </c:pt>
                <c:pt idx="1177">
                  <c:v>2.472871715001864</c:v>
                </c:pt>
                <c:pt idx="1178">
                  <c:v>2.4300887706947685</c:v>
                </c:pt>
                <c:pt idx="1179">
                  <c:v>2.3827603487243159</c:v>
                </c:pt>
                <c:pt idx="1180">
                  <c:v>2.4180254661468967</c:v>
                </c:pt>
                <c:pt idx="1181">
                  <c:v>2.4050784589789145</c:v>
                </c:pt>
                <c:pt idx="1182">
                  <c:v>2.3344739846545655</c:v>
                </c:pt>
                <c:pt idx="1183">
                  <c:v>2.3346226675642887</c:v>
                </c:pt>
                <c:pt idx="1184">
                  <c:v>2.294637956493824</c:v>
                </c:pt>
                <c:pt idx="1185">
                  <c:v>2.266423776792891</c:v>
                </c:pt>
                <c:pt idx="1186">
                  <c:v>2.2870033548330375</c:v>
                </c:pt>
                <c:pt idx="1187">
                  <c:v>2.3192413830305512</c:v>
                </c:pt>
                <c:pt idx="1188">
                  <c:v>2.2903899662278397</c:v>
                </c:pt>
                <c:pt idx="1189">
                  <c:v>2.3241067970929641</c:v>
                </c:pt>
                <c:pt idx="1190">
                  <c:v>2.2965174091450544</c:v>
                </c:pt>
                <c:pt idx="1191">
                  <c:v>2.2827258432797137</c:v>
                </c:pt>
                <c:pt idx="1192">
                  <c:v>2.1929267884921551</c:v>
                </c:pt>
                <c:pt idx="1193">
                  <c:v>2.2589323450698826</c:v>
                </c:pt>
                <c:pt idx="1194">
                  <c:v>2.2334766559854082</c:v>
                </c:pt>
                <c:pt idx="1195">
                  <c:v>2.2227833115786906</c:v>
                </c:pt>
                <c:pt idx="1196">
                  <c:v>2.200611243532137</c:v>
                </c:pt>
                <c:pt idx="1197">
                  <c:v>2.2495631232028264</c:v>
                </c:pt>
                <c:pt idx="1198">
                  <c:v>2.3190555036053202</c:v>
                </c:pt>
                <c:pt idx="1199">
                  <c:v>2.217811435922417</c:v>
                </c:pt>
                <c:pt idx="1200">
                  <c:v>2.1831108152739147</c:v>
                </c:pt>
                <c:pt idx="1201">
                  <c:v>2.1030934798191891</c:v>
                </c:pt>
                <c:pt idx="1202">
                  <c:v>2.0853577662823541</c:v>
                </c:pt>
                <c:pt idx="1203">
                  <c:v>2.1180048001877418</c:v>
                </c:pt>
                <c:pt idx="1204">
                  <c:v>2.0377765101571255</c:v>
                </c:pt>
                <c:pt idx="1205">
                  <c:v>2.1340023411914291</c:v>
                </c:pt>
                <c:pt idx="1206">
                  <c:v>2.1458834560554636</c:v>
                </c:pt>
                <c:pt idx="1207">
                  <c:v>2.1820302927198565</c:v>
                </c:pt>
                <c:pt idx="1208">
                  <c:v>2.1856845748851859</c:v>
                </c:pt>
                <c:pt idx="1209">
                  <c:v>2.1613878009696208</c:v>
                </c:pt>
                <c:pt idx="1210">
                  <c:v>2.1468763331712077</c:v>
                </c:pt>
                <c:pt idx="1211">
                  <c:v>2.1118829931519651</c:v>
                </c:pt>
                <c:pt idx="1212">
                  <c:v>2.1220804910123747</c:v>
                </c:pt>
                <c:pt idx="1213">
                  <c:v>2.142966518670435</c:v>
                </c:pt>
                <c:pt idx="1214">
                  <c:v>2.1031411773386082</c:v>
                </c:pt>
                <c:pt idx="1215">
                  <c:v>2.0771370531594808</c:v>
                </c:pt>
                <c:pt idx="1216">
                  <c:v>2.0385120775833325</c:v>
                </c:pt>
                <c:pt idx="1217">
                  <c:v>2.0376646277015809</c:v>
                </c:pt>
                <c:pt idx="1218">
                  <c:v>2.0081548385070795</c:v>
                </c:pt>
                <c:pt idx="1219">
                  <c:v>2.0660131590398265</c:v>
                </c:pt>
                <c:pt idx="1220">
                  <c:v>2.0845110416813823</c:v>
                </c:pt>
                <c:pt idx="1221">
                  <c:v>2.0799025194364558</c:v>
                </c:pt>
                <c:pt idx="1222">
                  <c:v>2.1411504211210408</c:v>
                </c:pt>
                <c:pt idx="1223">
                  <c:v>2.0627784663954825</c:v>
                </c:pt>
                <c:pt idx="1224">
                  <c:v>2.020632719675147</c:v>
                </c:pt>
                <c:pt idx="1225">
                  <c:v>2.0408132644314305</c:v>
                </c:pt>
                <c:pt idx="1226">
                  <c:v>2.0718589722821208</c:v>
                </c:pt>
                <c:pt idx="1227">
                  <c:v>1.9859371650388298</c:v>
                </c:pt>
                <c:pt idx="1228">
                  <c:v>2.0214900352394567</c:v>
                </c:pt>
                <c:pt idx="1229">
                  <c:v>2.0445321500868263</c:v>
                </c:pt>
                <c:pt idx="1230">
                  <c:v>2.0174091736469038</c:v>
                </c:pt>
                <c:pt idx="1231">
                  <c:v>2.0499698450309523</c:v>
                </c:pt>
                <c:pt idx="1232">
                  <c:v>2.0774457283527195</c:v>
                </c:pt>
                <c:pt idx="1233">
                  <c:v>2.0595906281634879</c:v>
                </c:pt>
                <c:pt idx="1234">
                  <c:v>2.1710672077037731</c:v>
                </c:pt>
                <c:pt idx="1235">
                  <c:v>2.1766605706148598</c:v>
                </c:pt>
                <c:pt idx="1236">
                  <c:v>2.285642218191041</c:v>
                </c:pt>
                <c:pt idx="1237">
                  <c:v>2.2983875547766321</c:v>
                </c:pt>
                <c:pt idx="1238">
                  <c:v>2.3922546880794204</c:v>
                </c:pt>
                <c:pt idx="1239">
                  <c:v>2.5107455964664611</c:v>
                </c:pt>
                <c:pt idx="1240">
                  <c:v>2.450950577772272</c:v>
                </c:pt>
                <c:pt idx="1241">
                  <c:v>2.4444322017247098</c:v>
                </c:pt>
                <c:pt idx="1242">
                  <c:v>2.4405615824734945</c:v>
                </c:pt>
                <c:pt idx="1243">
                  <c:v>2.4312431570466626</c:v>
                </c:pt>
                <c:pt idx="1244">
                  <c:v>2.5448565501485612</c:v>
                </c:pt>
                <c:pt idx="1245">
                  <c:v>2.5388016507008939</c:v>
                </c:pt>
                <c:pt idx="1246">
                  <c:v>2.5305415514005434</c:v>
                </c:pt>
                <c:pt idx="1247">
                  <c:v>2.4943840027447726</c:v>
                </c:pt>
                <c:pt idx="1248">
                  <c:v>2.483004336447125</c:v>
                </c:pt>
                <c:pt idx="1249">
                  <c:v>2.3141180600272473</c:v>
                </c:pt>
                <c:pt idx="1250">
                  <c:v>2.3773050640044322</c:v>
                </c:pt>
                <c:pt idx="1251">
                  <c:v>2.34055030678193</c:v>
                </c:pt>
                <c:pt idx="1252">
                  <c:v>2.2136823337335776</c:v>
                </c:pt>
                <c:pt idx="1253">
                  <c:v>2.2831332100161044</c:v>
                </c:pt>
                <c:pt idx="1254">
                  <c:v>2.2754300334619342</c:v>
                </c:pt>
                <c:pt idx="1255">
                  <c:v>2.1924177395719058</c:v>
                </c:pt>
                <c:pt idx="1256">
                  <c:v>2.0470049621567878</c:v>
                </c:pt>
                <c:pt idx="1257">
                  <c:v>2.0539041545437433</c:v>
                </c:pt>
                <c:pt idx="1258">
                  <c:v>2.0503143012065981</c:v>
                </c:pt>
                <c:pt idx="1259">
                  <c:v>1.988010419476512</c:v>
                </c:pt>
                <c:pt idx="1260">
                  <c:v>1.9576285857819922</c:v>
                </c:pt>
                <c:pt idx="1261">
                  <c:v>1.6904332989775159</c:v>
                </c:pt>
                <c:pt idx="1262">
                  <c:v>1.7112217979552737</c:v>
                </c:pt>
                <c:pt idx="1263">
                  <c:v>1.6460205011096134</c:v>
                </c:pt>
                <c:pt idx="1264">
                  <c:v>1.647200157101971</c:v>
                </c:pt>
                <c:pt idx="1265">
                  <c:v>1.6644861959688109</c:v>
                </c:pt>
                <c:pt idx="1266">
                  <c:v>1.6605504952224222</c:v>
                </c:pt>
                <c:pt idx="1267">
                  <c:v>1.7280831844425188</c:v>
                </c:pt>
                <c:pt idx="1268">
                  <c:v>1.7361657444935947</c:v>
                </c:pt>
                <c:pt idx="1269">
                  <c:v>1.7045967947684495</c:v>
                </c:pt>
                <c:pt idx="1270">
                  <c:v>1.7675869529852375</c:v>
                </c:pt>
                <c:pt idx="1271">
                  <c:v>1.7065032991535189</c:v>
                </c:pt>
                <c:pt idx="1272">
                  <c:v>1.643241091354678</c:v>
                </c:pt>
                <c:pt idx="1273">
                  <c:v>1.6019490361286663</c:v>
                </c:pt>
                <c:pt idx="1274">
                  <c:v>1.5660009823304748</c:v>
                </c:pt>
                <c:pt idx="1275">
                  <c:v>1.5939160715204539</c:v>
                </c:pt>
                <c:pt idx="1276">
                  <c:v>1.6471558660433254</c:v>
                </c:pt>
                <c:pt idx="1277">
                  <c:v>2.0036656822057921</c:v>
                </c:pt>
                <c:pt idx="1278">
                  <c:v>2.1500990232597097</c:v>
                </c:pt>
                <c:pt idx="1279">
                  <c:v>2.3089410757795568</c:v>
                </c:pt>
                <c:pt idx="1280">
                  <c:v>2.4744207889351295</c:v>
                </c:pt>
                <c:pt idx="1281">
                  <c:v>2.4890439134185249</c:v>
                </c:pt>
                <c:pt idx="1282">
                  <c:v>2.6941764032590778</c:v>
                </c:pt>
                <c:pt idx="1283">
                  <c:v>2.7470909335042393</c:v>
                </c:pt>
                <c:pt idx="1284">
                  <c:v>2.7240064034969498</c:v>
                </c:pt>
                <c:pt idx="1285">
                  <c:v>2.7630223290799845</c:v>
                </c:pt>
                <c:pt idx="1286">
                  <c:v>2.7588902903312018</c:v>
                </c:pt>
                <c:pt idx="1287">
                  <c:v>2.7553500726747058</c:v>
                </c:pt>
                <c:pt idx="1288">
                  <c:v>2.8144090430520214</c:v>
                </c:pt>
                <c:pt idx="1289">
                  <c:v>2.7655666827361109</c:v>
                </c:pt>
                <c:pt idx="1290">
                  <c:v>2.7253689628490778</c:v>
                </c:pt>
                <c:pt idx="1291">
                  <c:v>2.7342195747261435</c:v>
                </c:pt>
                <c:pt idx="1292">
                  <c:v>2.6933469145945246</c:v>
                </c:pt>
                <c:pt idx="1293">
                  <c:v>2.6611920625337078</c:v>
                </c:pt>
                <c:pt idx="1294">
                  <c:v>2.6894638724037803</c:v>
                </c:pt>
                <c:pt idx="1295">
                  <c:v>2.6175327187946076</c:v>
                </c:pt>
                <c:pt idx="1296">
                  <c:v>2.6202346677480213</c:v>
                </c:pt>
                <c:pt idx="1297">
                  <c:v>2.5756796349385489</c:v>
                </c:pt>
                <c:pt idx="1298">
                  <c:v>2.5384109144407478</c:v>
                </c:pt>
                <c:pt idx="1299">
                  <c:v>2.504708968751423</c:v>
                </c:pt>
                <c:pt idx="1300">
                  <c:v>2.4237905273695088</c:v>
                </c:pt>
                <c:pt idx="1301">
                  <c:v>2.4473792210794847</c:v>
                </c:pt>
                <c:pt idx="1302">
                  <c:v>2.4622697455397744</c:v>
                </c:pt>
                <c:pt idx="1303">
                  <c:v>2.4408067068226202</c:v>
                </c:pt>
                <c:pt idx="1304">
                  <c:v>2.3187819412937594</c:v>
                </c:pt>
                <c:pt idx="1305">
                  <c:v>2.1267774432579762</c:v>
                </c:pt>
                <c:pt idx="1306">
                  <c:v>2.1295555274661404</c:v>
                </c:pt>
                <c:pt idx="1307">
                  <c:v>2.1495549962412377</c:v>
                </c:pt>
                <c:pt idx="1308">
                  <c:v>2.1407266859180414</c:v>
                </c:pt>
                <c:pt idx="1309">
                  <c:v>2.2007327121687026</c:v>
                </c:pt>
                <c:pt idx="1310">
                  <c:v>2.1651589700599874</c:v>
                </c:pt>
                <c:pt idx="1311">
                  <c:v>2.2328459901929998</c:v>
                </c:pt>
                <c:pt idx="1312">
                  <c:v>2.1473947623161318</c:v>
                </c:pt>
                <c:pt idx="1313">
                  <c:v>2.1305341662528705</c:v>
                </c:pt>
                <c:pt idx="1314">
                  <c:v>2.1173473674879486</c:v>
                </c:pt>
                <c:pt idx="1315">
                  <c:v>2.2011820101605122</c:v>
                </c:pt>
                <c:pt idx="1316">
                  <c:v>2.197948126449341</c:v>
                </c:pt>
                <c:pt idx="1317">
                  <c:v>2.2031097135624784</c:v>
                </c:pt>
                <c:pt idx="1318">
                  <c:v>2.1827766094146615</c:v>
                </c:pt>
                <c:pt idx="1319">
                  <c:v>2.2038694091020439</c:v>
                </c:pt>
                <c:pt idx="1320">
                  <c:v>2.1851750560649208</c:v>
                </c:pt>
                <c:pt idx="1321">
                  <c:v>2.1449930431856656</c:v>
                </c:pt>
                <c:pt idx="1322">
                  <c:v>2.1483964916917548</c:v>
                </c:pt>
                <c:pt idx="1323">
                  <c:v>2.1546141015213784</c:v>
                </c:pt>
                <c:pt idx="1324">
                  <c:v>2.2124211302390551</c:v>
                </c:pt>
                <c:pt idx="1325">
                  <c:v>2.2201283064205311</c:v>
                </c:pt>
                <c:pt idx="1326">
                  <c:v>2.2031037632616259</c:v>
                </c:pt>
                <c:pt idx="1327">
                  <c:v>2.1596242315520078</c:v>
                </c:pt>
                <c:pt idx="1328">
                  <c:v>2.0831263087030565</c:v>
                </c:pt>
                <c:pt idx="1329">
                  <c:v>2.1145722919686207</c:v>
                </c:pt>
                <c:pt idx="1330">
                  <c:v>2.0852939914273474</c:v>
                </c:pt>
                <c:pt idx="1331">
                  <c:v>2.1008241585055547</c:v>
                </c:pt>
                <c:pt idx="1332">
                  <c:v>2.0703031710140185</c:v>
                </c:pt>
                <c:pt idx="1333">
                  <c:v>2.0285898041549499</c:v>
                </c:pt>
                <c:pt idx="1334">
                  <c:v>2.0707945305246485</c:v>
                </c:pt>
                <c:pt idx="1335">
                  <c:v>1.9966899558768014</c:v>
                </c:pt>
                <c:pt idx="1336">
                  <c:v>2.0142345161016921</c:v>
                </c:pt>
                <c:pt idx="1337">
                  <c:v>1.98971622270814</c:v>
                </c:pt>
                <c:pt idx="1338">
                  <c:v>2.0010208281067325</c:v>
                </c:pt>
                <c:pt idx="1339">
                  <c:v>1.9463885100783207</c:v>
                </c:pt>
                <c:pt idx="1340">
                  <c:v>2.0542260318917296</c:v>
                </c:pt>
                <c:pt idx="1341">
                  <c:v>2.0321056580622567</c:v>
                </c:pt>
                <c:pt idx="1342">
                  <c:v>2.1205006121232333</c:v>
                </c:pt>
                <c:pt idx="1343">
                  <c:v>2.1693320884292602</c:v>
                </c:pt>
                <c:pt idx="1344">
                  <c:v>2.213590414041434</c:v>
                </c:pt>
                <c:pt idx="1345">
                  <c:v>2.1729678561118342</c:v>
                </c:pt>
                <c:pt idx="1346">
                  <c:v>2.1711183997926313</c:v>
                </c:pt>
                <c:pt idx="1347">
                  <c:v>2.1594014735669091</c:v>
                </c:pt>
                <c:pt idx="1348">
                  <c:v>2.1792322711303753</c:v>
                </c:pt>
                <c:pt idx="1349">
                  <c:v>2.1741908651531321</c:v>
                </c:pt>
                <c:pt idx="1350">
                  <c:v>2.1546528991017295</c:v>
                </c:pt>
                <c:pt idx="1351">
                  <c:v>2.177094852497294</c:v>
                </c:pt>
                <c:pt idx="1352">
                  <c:v>2.193483617655998</c:v>
                </c:pt>
                <c:pt idx="1353">
                  <c:v>2.2641854948662927</c:v>
                </c:pt>
                <c:pt idx="1354">
                  <c:v>2.2259814566671592</c:v>
                </c:pt>
                <c:pt idx="1355">
                  <c:v>2.2399219849623297</c:v>
                </c:pt>
                <c:pt idx="1356">
                  <c:v>2.3139538554476551</c:v>
                </c:pt>
                <c:pt idx="1357">
                  <c:v>2.3130225950519514</c:v>
                </c:pt>
                <c:pt idx="1358">
                  <c:v>2.3257052094350059</c:v>
                </c:pt>
                <c:pt idx="1359">
                  <c:v>2.2959739007118687</c:v>
                </c:pt>
                <c:pt idx="1360">
                  <c:v>2.2429710141388228</c:v>
                </c:pt>
                <c:pt idx="1361">
                  <c:v>2.2030313235276973</c:v>
                </c:pt>
                <c:pt idx="1362">
                  <c:v>2.1983072496674234</c:v>
                </c:pt>
                <c:pt idx="1363">
                  <c:v>2.1992235907278452</c:v>
                </c:pt>
                <c:pt idx="1364">
                  <c:v>2.1636689406853558</c:v>
                </c:pt>
                <c:pt idx="1365">
                  <c:v>2.1604105629955992</c:v>
                </c:pt>
                <c:pt idx="1366">
                  <c:v>2.1717528189989905</c:v>
                </c:pt>
                <c:pt idx="1367">
                  <c:v>2.2008702304008945</c:v>
                </c:pt>
                <c:pt idx="1368">
                  <c:v>2.2295875629933084</c:v>
                </c:pt>
                <c:pt idx="1369">
                  <c:v>2.2801576343041683</c:v>
                </c:pt>
                <c:pt idx="1370">
                  <c:v>2.1545863255517932</c:v>
                </c:pt>
                <c:pt idx="1371">
                  <c:v>2.1445348080830269</c:v>
                </c:pt>
                <c:pt idx="1372">
                  <c:v>2.1147946512209894</c:v>
                </c:pt>
                <c:pt idx="1373">
                  <c:v>2.0970575177459665</c:v>
                </c:pt>
                <c:pt idx="1374">
                  <c:v>2.0241243810180887</c:v>
                </c:pt>
                <c:pt idx="1375">
                  <c:v>2.0095680695988598</c:v>
                </c:pt>
                <c:pt idx="1376">
                  <c:v>2.0082607967485688</c:v>
                </c:pt>
                <c:pt idx="1377">
                  <c:v>2.118285725831845</c:v>
                </c:pt>
                <c:pt idx="1378">
                  <c:v>2.2045376660173313</c:v>
                </c:pt>
                <c:pt idx="1379">
                  <c:v>2.1857996587497142</c:v>
                </c:pt>
                <c:pt idx="1380">
                  <c:v>2.2643075805258328</c:v>
                </c:pt>
                <c:pt idx="1381">
                  <c:v>2.2603895840165142</c:v>
                </c:pt>
                <c:pt idx="1382">
                  <c:v>2.2938914259480958</c:v>
                </c:pt>
                <c:pt idx="1383">
                  <c:v>2.280902412746308</c:v>
                </c:pt>
                <c:pt idx="1384">
                  <c:v>2.2083686698574976</c:v>
                </c:pt>
                <c:pt idx="1385">
                  <c:v>2.2333592650793008</c:v>
                </c:pt>
                <c:pt idx="1386">
                  <c:v>2.2126862048840819</c:v>
                </c:pt>
                <c:pt idx="1387">
                  <c:v>2.2742464306240504</c:v>
                </c:pt>
                <c:pt idx="1388">
                  <c:v>2.3154159335178988</c:v>
                </c:pt>
                <c:pt idx="1389">
                  <c:v>2.2861459664422807</c:v>
                </c:pt>
                <c:pt idx="1390">
                  <c:v>2.2971278650158258</c:v>
                </c:pt>
                <c:pt idx="1391">
                  <c:v>2.2994734674301456</c:v>
                </c:pt>
                <c:pt idx="1392">
                  <c:v>2.3287217928646493</c:v>
                </c:pt>
                <c:pt idx="1393">
                  <c:v>2.3376128703860339</c:v>
                </c:pt>
                <c:pt idx="1394">
                  <c:v>2.3053401769442741</c:v>
                </c:pt>
                <c:pt idx="1395">
                  <c:v>2.303683347987977</c:v>
                </c:pt>
                <c:pt idx="1396">
                  <c:v>2.3528945689649112</c:v>
                </c:pt>
                <c:pt idx="1397">
                  <c:v>2.2845079003009534</c:v>
                </c:pt>
                <c:pt idx="1398">
                  <c:v>2.2020249409578345</c:v>
                </c:pt>
                <c:pt idx="1399">
                  <c:v>2.2162700533911193</c:v>
                </c:pt>
                <c:pt idx="1400">
                  <c:v>2.2461690891576893</c:v>
                </c:pt>
                <c:pt idx="1401">
                  <c:v>2.2406608051075385</c:v>
                </c:pt>
                <c:pt idx="1402">
                  <c:v>2.1906703044125839</c:v>
                </c:pt>
                <c:pt idx="1403">
                  <c:v>2.1558839186501664</c:v>
                </c:pt>
                <c:pt idx="1404">
                  <c:v>2.1657292547988689</c:v>
                </c:pt>
                <c:pt idx="1405">
                  <c:v>2.1907990884510626</c:v>
                </c:pt>
                <c:pt idx="1406">
                  <c:v>2.1935717029098831</c:v>
                </c:pt>
                <c:pt idx="1407">
                  <c:v>2.1727100903033798</c:v>
                </c:pt>
                <c:pt idx="1408">
                  <c:v>2.1207637382499303</c:v>
                </c:pt>
                <c:pt idx="1409">
                  <c:v>2.1214124998654431</c:v>
                </c:pt>
                <c:pt idx="1410">
                  <c:v>2.0946941343956191</c:v>
                </c:pt>
                <c:pt idx="1411">
                  <c:v>2.1377894706101563</c:v>
                </c:pt>
                <c:pt idx="1412">
                  <c:v>2.1205575941970607</c:v>
                </c:pt>
                <c:pt idx="1413">
                  <c:v>2.0418775178382118</c:v>
                </c:pt>
                <c:pt idx="1414">
                  <c:v>2.0559707838315311</c:v>
                </c:pt>
                <c:pt idx="1415">
                  <c:v>1.9765826754427098</c:v>
                </c:pt>
                <c:pt idx="1416">
                  <c:v>1.9838902821622066</c:v>
                </c:pt>
                <c:pt idx="1417">
                  <c:v>1.930861586256186</c:v>
                </c:pt>
                <c:pt idx="1418">
                  <c:v>1.9442423395534132</c:v>
                </c:pt>
                <c:pt idx="1419">
                  <c:v>2.019380215989627</c:v>
                </c:pt>
                <c:pt idx="1420">
                  <c:v>1.9948493570800696</c:v>
                </c:pt>
                <c:pt idx="1421">
                  <c:v>2.0019654064801506</c:v>
                </c:pt>
                <c:pt idx="1422">
                  <c:v>1.9857189377702762</c:v>
                </c:pt>
                <c:pt idx="1423">
                  <c:v>2.0088694753076988</c:v>
                </c:pt>
                <c:pt idx="1424">
                  <c:v>2.0098327684650248</c:v>
                </c:pt>
                <c:pt idx="1425">
                  <c:v>2.0094149064746905</c:v>
                </c:pt>
                <c:pt idx="1426">
                  <c:v>1.9159744538283918</c:v>
                </c:pt>
                <c:pt idx="1427">
                  <c:v>1.9985825698232382</c:v>
                </c:pt>
                <c:pt idx="1428">
                  <c:v>1.9713002075805093</c:v>
                </c:pt>
                <c:pt idx="1429">
                  <c:v>2.036899186928665</c:v>
                </c:pt>
                <c:pt idx="1430">
                  <c:v>2.0102880634932956</c:v>
                </c:pt>
                <c:pt idx="1431">
                  <c:v>2.0426330011231792</c:v>
                </c:pt>
                <c:pt idx="1432">
                  <c:v>2.044666979461768</c:v>
                </c:pt>
                <c:pt idx="1433">
                  <c:v>2.0616411439255371</c:v>
                </c:pt>
                <c:pt idx="1434">
                  <c:v>2.0827486934966948</c:v>
                </c:pt>
                <c:pt idx="1435">
                  <c:v>2.0718174321629577</c:v>
                </c:pt>
                <c:pt idx="1436">
                  <c:v>2.0728960132234562</c:v>
                </c:pt>
                <c:pt idx="1437">
                  <c:v>2.0512884180506386</c:v>
                </c:pt>
                <c:pt idx="1438">
                  <c:v>2.0450627745099035</c:v>
                </c:pt>
                <c:pt idx="1439">
                  <c:v>2.0337089914250237</c:v>
                </c:pt>
                <c:pt idx="1440">
                  <c:v>2.0178834727280175</c:v>
                </c:pt>
                <c:pt idx="1441">
                  <c:v>1.9294344257791667</c:v>
                </c:pt>
                <c:pt idx="1442">
                  <c:v>1.9313949133695476</c:v>
                </c:pt>
                <c:pt idx="1443">
                  <c:v>1.9331081193365607</c:v>
                </c:pt>
                <c:pt idx="1444">
                  <c:v>2.0121341793088474</c:v>
                </c:pt>
                <c:pt idx="1445">
                  <c:v>2.0399905192216696</c:v>
                </c:pt>
                <c:pt idx="1446">
                  <c:v>2.0534989613415986</c:v>
                </c:pt>
                <c:pt idx="1447">
                  <c:v>2.1199024767372654</c:v>
                </c:pt>
                <c:pt idx="1448">
                  <c:v>2.0525461647733279</c:v>
                </c:pt>
                <c:pt idx="1449">
                  <c:v>2.0115011760116444</c:v>
                </c:pt>
                <c:pt idx="1450">
                  <c:v>2.0235411345665755</c:v>
                </c:pt>
                <c:pt idx="1451">
                  <c:v>2.0619427405941075</c:v>
                </c:pt>
                <c:pt idx="1452">
                  <c:v>2.0104547681198008</c:v>
                </c:pt>
                <c:pt idx="1453">
                  <c:v>1.9638437910489919</c:v>
                </c:pt>
                <c:pt idx="1454">
                  <c:v>1.9825395329992792</c:v>
                </c:pt>
                <c:pt idx="1455">
                  <c:v>1.9981752861571407</c:v>
                </c:pt>
                <c:pt idx="1456">
                  <c:v>1.9738755452146861</c:v>
                </c:pt>
                <c:pt idx="1457">
                  <c:v>1.8983677549387923</c:v>
                </c:pt>
                <c:pt idx="1458">
                  <c:v>1.9998457240772813</c:v>
                </c:pt>
                <c:pt idx="1459">
                  <c:v>1.9227979834383173</c:v>
                </c:pt>
                <c:pt idx="1460">
                  <c:v>1.9290905446942004</c:v>
                </c:pt>
                <c:pt idx="1461">
                  <c:v>1.869543712356035</c:v>
                </c:pt>
                <c:pt idx="1462">
                  <c:v>1.9062165753119222</c:v>
                </c:pt>
                <c:pt idx="1463">
                  <c:v>1.8468630190959643</c:v>
                </c:pt>
                <c:pt idx="1464">
                  <c:v>1.8725181731881575</c:v>
                </c:pt>
                <c:pt idx="1465">
                  <c:v>1.9062357113567618</c:v>
                </c:pt>
                <c:pt idx="1466">
                  <c:v>1.9572693711596161</c:v>
                </c:pt>
                <c:pt idx="1467">
                  <c:v>1.9132805696590891</c:v>
                </c:pt>
                <c:pt idx="1468">
                  <c:v>2.0031343350944555</c:v>
                </c:pt>
                <c:pt idx="1469">
                  <c:v>2.0382217414669617</c:v>
                </c:pt>
                <c:pt idx="1470">
                  <c:v>2.0489784112297436</c:v>
                </c:pt>
                <c:pt idx="1471">
                  <c:v>2.0344310877637728</c:v>
                </c:pt>
                <c:pt idx="1472">
                  <c:v>2.0051023544187547</c:v>
                </c:pt>
                <c:pt idx="1473">
                  <c:v>1.9855188670631789</c:v>
                </c:pt>
                <c:pt idx="1474">
                  <c:v>1.9400985854167621</c:v>
                </c:pt>
                <c:pt idx="1475">
                  <c:v>1.9576346999158964</c:v>
                </c:pt>
                <c:pt idx="1476">
                  <c:v>1.9397499346726126</c:v>
                </c:pt>
                <c:pt idx="1477">
                  <c:v>1.8356060595279207</c:v>
                </c:pt>
                <c:pt idx="1478">
                  <c:v>1.9294949826812868</c:v>
                </c:pt>
                <c:pt idx="1479">
                  <c:v>1.8988444737071535</c:v>
                </c:pt>
                <c:pt idx="1480">
                  <c:v>1.8892320350212819</c:v>
                </c:pt>
                <c:pt idx="1481">
                  <c:v>1.8229476723197389</c:v>
                </c:pt>
                <c:pt idx="1482">
                  <c:v>1.9142023427293198</c:v>
                </c:pt>
                <c:pt idx="1483">
                  <c:v>1.9669054408878239</c:v>
                </c:pt>
                <c:pt idx="1484">
                  <c:v>1.9540327873736605</c:v>
                </c:pt>
                <c:pt idx="1485">
                  <c:v>2.062114114094979</c:v>
                </c:pt>
                <c:pt idx="1486">
                  <c:v>2.1411313437472632</c:v>
                </c:pt>
                <c:pt idx="1487">
                  <c:v>2.1415294488648215</c:v>
                </c:pt>
                <c:pt idx="1488">
                  <c:v>2.1331226444360714</c:v>
                </c:pt>
                <c:pt idx="1489">
                  <c:v>2.1163069722778713</c:v>
                </c:pt>
                <c:pt idx="1490">
                  <c:v>2.1204106561730409</c:v>
                </c:pt>
                <c:pt idx="1491">
                  <c:v>2.1412387959466841</c:v>
                </c:pt>
                <c:pt idx="1492">
                  <c:v>2.1921580141063428</c:v>
                </c:pt>
                <c:pt idx="1493">
                  <c:v>2.2010031651565933</c:v>
                </c:pt>
                <c:pt idx="1494">
                  <c:v>2.1354922520895903</c:v>
                </c:pt>
                <c:pt idx="1495">
                  <c:v>2.115999925657003</c:v>
                </c:pt>
                <c:pt idx="1496">
                  <c:v>2.0524595249708057</c:v>
                </c:pt>
                <c:pt idx="1497">
                  <c:v>2.1478526526239792</c:v>
                </c:pt>
                <c:pt idx="1498">
                  <c:v>2.1449345844607568</c:v>
                </c:pt>
                <c:pt idx="1499">
                  <c:v>2.1186969115521923</c:v>
                </c:pt>
                <c:pt idx="1500">
                  <c:v>2.1497363538779743</c:v>
                </c:pt>
                <c:pt idx="1501">
                  <c:v>2.1890511422945926</c:v>
                </c:pt>
                <c:pt idx="1502">
                  <c:v>2.1832256867222974</c:v>
                </c:pt>
                <c:pt idx="1503">
                  <c:v>2.1807507838336813</c:v>
                </c:pt>
                <c:pt idx="1504">
                  <c:v>2.1651544071764364</c:v>
                </c:pt>
                <c:pt idx="1505">
                  <c:v>2.1963588096025335</c:v>
                </c:pt>
                <c:pt idx="1506">
                  <c:v>2.2279010053662978</c:v>
                </c:pt>
                <c:pt idx="1507">
                  <c:v>2.2282401242879204</c:v>
                </c:pt>
                <c:pt idx="1508">
                  <c:v>2.1278720051843854</c:v>
                </c:pt>
                <c:pt idx="1509">
                  <c:v>2.0896656154382725</c:v>
                </c:pt>
                <c:pt idx="1510">
                  <c:v>2.150111305581476</c:v>
                </c:pt>
                <c:pt idx="1511">
                  <c:v>2.2384689905552819</c:v>
                </c:pt>
                <c:pt idx="1512">
                  <c:v>2.1786964780133276</c:v>
                </c:pt>
                <c:pt idx="1513">
                  <c:v>2.1314803568052767</c:v>
                </c:pt>
                <c:pt idx="1514">
                  <c:v>2.222379501099653</c:v>
                </c:pt>
                <c:pt idx="1515">
                  <c:v>2.1118380120439406</c:v>
                </c:pt>
                <c:pt idx="1516">
                  <c:v>2.0220688935914919</c:v>
                </c:pt>
                <c:pt idx="1517">
                  <c:v>2.0255182158986393</c:v>
                </c:pt>
                <c:pt idx="1518">
                  <c:v>1.9553936095653617</c:v>
                </c:pt>
                <c:pt idx="1519">
                  <c:v>1.9599098701125426</c:v>
                </c:pt>
                <c:pt idx="1520">
                  <c:v>1.912723716776396</c:v>
                </c:pt>
                <c:pt idx="1521">
                  <c:v>1.9240164917263751</c:v>
                </c:pt>
                <c:pt idx="1522">
                  <c:v>1.8272621739481163</c:v>
                </c:pt>
                <c:pt idx="1523">
                  <c:v>1.8027353270647175</c:v>
                </c:pt>
                <c:pt idx="1524">
                  <c:v>1.8025067248190647</c:v>
                </c:pt>
                <c:pt idx="1525">
                  <c:v>1.7774749274989321</c:v>
                </c:pt>
                <c:pt idx="1526">
                  <c:v>1.8087050832252671</c:v>
                </c:pt>
                <c:pt idx="1527">
                  <c:v>1.6644865383945353</c:v>
                </c:pt>
                <c:pt idx="1528">
                  <c:v>1.7097804251740465</c:v>
                </c:pt>
                <c:pt idx="1529">
                  <c:v>1.7277111031455339</c:v>
                </c:pt>
                <c:pt idx="1530">
                  <c:v>1.6558621192121448</c:v>
                </c:pt>
                <c:pt idx="1531">
                  <c:v>1.6218372997453379</c:v>
                </c:pt>
                <c:pt idx="1532">
                  <c:v>1.7807925737035206</c:v>
                </c:pt>
                <c:pt idx="1533">
                  <c:v>1.7791194669568828</c:v>
                </c:pt>
                <c:pt idx="1534">
                  <c:v>1.778013552650098</c:v>
                </c:pt>
                <c:pt idx="1535">
                  <c:v>1.7401051124063887</c:v>
                </c:pt>
                <c:pt idx="1536">
                  <c:v>1.7387717112205545</c:v>
                </c:pt>
                <c:pt idx="1537">
                  <c:v>1.7633272736506369</c:v>
                </c:pt>
                <c:pt idx="1538">
                  <c:v>1.7917621782031474</c:v>
                </c:pt>
                <c:pt idx="1539">
                  <c:v>1.9074770508539614</c:v>
                </c:pt>
                <c:pt idx="1540">
                  <c:v>1.844233011931748</c:v>
                </c:pt>
                <c:pt idx="1541">
                  <c:v>1.73236602628221</c:v>
                </c:pt>
                <c:pt idx="1542">
                  <c:v>1.7270099343618814</c:v>
                </c:pt>
                <c:pt idx="1543">
                  <c:v>1.723853625272201</c:v>
                </c:pt>
                <c:pt idx="1544">
                  <c:v>1.6657855370081123</c:v>
                </c:pt>
                <c:pt idx="1545">
                  <c:v>1.7188455259428546</c:v>
                </c:pt>
                <c:pt idx="1546">
                  <c:v>1.7841428121755487</c:v>
                </c:pt>
                <c:pt idx="1547">
                  <c:v>1.8202366653820954</c:v>
                </c:pt>
                <c:pt idx="1548">
                  <c:v>1.8234702608360549</c:v>
                </c:pt>
                <c:pt idx="1549">
                  <c:v>1.8549260985807419</c:v>
                </c:pt>
                <c:pt idx="1550">
                  <c:v>1.9222177946629109</c:v>
                </c:pt>
                <c:pt idx="1551">
                  <c:v>1.9104233793490011</c:v>
                </c:pt>
                <c:pt idx="1552">
                  <c:v>1.915152837849893</c:v>
                </c:pt>
                <c:pt idx="1553">
                  <c:v>1.9232401967940598</c:v>
                </c:pt>
                <c:pt idx="1554">
                  <c:v>1.9552644785688778</c:v>
                </c:pt>
                <c:pt idx="1555">
                  <c:v>1.9581229925703054</c:v>
                </c:pt>
                <c:pt idx="1556">
                  <c:v>1.9896379236335024</c:v>
                </c:pt>
                <c:pt idx="1557">
                  <c:v>1.9500712806023368</c:v>
                </c:pt>
                <c:pt idx="1558">
                  <c:v>1.9252093605578779</c:v>
                </c:pt>
                <c:pt idx="1559">
                  <c:v>1.91008244142219</c:v>
                </c:pt>
                <c:pt idx="1560">
                  <c:v>1.8883629671079636</c:v>
                </c:pt>
                <c:pt idx="1561">
                  <c:v>1.9021484955233028</c:v>
                </c:pt>
                <c:pt idx="1562">
                  <c:v>1.8344409894315652</c:v>
                </c:pt>
                <c:pt idx="1563">
                  <c:v>1.8941239450313847</c:v>
                </c:pt>
                <c:pt idx="1564">
                  <c:v>1.8938194988173727</c:v>
                </c:pt>
                <c:pt idx="1565">
                  <c:v>1.9453325677832167</c:v>
                </c:pt>
                <c:pt idx="1566">
                  <c:v>1.9303337218631242</c:v>
                </c:pt>
                <c:pt idx="1567">
                  <c:v>1.8763677067341809</c:v>
                </c:pt>
                <c:pt idx="1568">
                  <c:v>1.8866769011326749</c:v>
                </c:pt>
                <c:pt idx="1569">
                  <c:v>1.8388629442945676</c:v>
                </c:pt>
                <c:pt idx="1570">
                  <c:v>1.8940742940462929</c:v>
                </c:pt>
                <c:pt idx="1571">
                  <c:v>1.937529537491993</c:v>
                </c:pt>
                <c:pt idx="1572">
                  <c:v>2.0182863086847846</c:v>
                </c:pt>
                <c:pt idx="1573">
                  <c:v>2.0686066026040426</c:v>
                </c:pt>
                <c:pt idx="1574">
                  <c:v>2.0463689120801072</c:v>
                </c:pt>
                <c:pt idx="1575">
                  <c:v>2.0041018069041781</c:v>
                </c:pt>
                <c:pt idx="1576">
                  <c:v>2.0430387684814941</c:v>
                </c:pt>
                <c:pt idx="1577">
                  <c:v>2.0221534531785088</c:v>
                </c:pt>
                <c:pt idx="1578">
                  <c:v>2.0042622010722324</c:v>
                </c:pt>
                <c:pt idx="1579">
                  <c:v>2.0648074140394521</c:v>
                </c:pt>
                <c:pt idx="1580">
                  <c:v>2.0729138855296201</c:v>
                </c:pt>
                <c:pt idx="1581">
                  <c:v>2.1544857118197935</c:v>
                </c:pt>
                <c:pt idx="1582">
                  <c:v>2.2243233409441334</c:v>
                </c:pt>
                <c:pt idx="1583">
                  <c:v>2.2800863094228263</c:v>
                </c:pt>
                <c:pt idx="1584">
                  <c:v>2.2380348183193846</c:v>
                </c:pt>
                <c:pt idx="1585">
                  <c:v>2.2857383054553586</c:v>
                </c:pt>
                <c:pt idx="1586">
                  <c:v>2.325183231272574</c:v>
                </c:pt>
                <c:pt idx="1587">
                  <c:v>2.3302606211652455</c:v>
                </c:pt>
                <c:pt idx="1588">
                  <c:v>2.3012211725022196</c:v>
                </c:pt>
                <c:pt idx="1589">
                  <c:v>2.3924348009135001</c:v>
                </c:pt>
                <c:pt idx="1590">
                  <c:v>2.4381338412234874</c:v>
                </c:pt>
                <c:pt idx="1591">
                  <c:v>2.5229896876518021</c:v>
                </c:pt>
                <c:pt idx="1592">
                  <c:v>2.5169606868361214</c:v>
                </c:pt>
                <c:pt idx="1593">
                  <c:v>2.4395633942324522</c:v>
                </c:pt>
                <c:pt idx="1594">
                  <c:v>2.4393690036823368</c:v>
                </c:pt>
                <c:pt idx="1595">
                  <c:v>2.491098696915349</c:v>
                </c:pt>
                <c:pt idx="1596">
                  <c:v>2.5471664641902079</c:v>
                </c:pt>
                <c:pt idx="1597">
                  <c:v>2.5474621878187147</c:v>
                </c:pt>
                <c:pt idx="1598">
                  <c:v>2.5421854660997183</c:v>
                </c:pt>
                <c:pt idx="1599">
                  <c:v>2.5524475520071186</c:v>
                </c:pt>
                <c:pt idx="1600">
                  <c:v>2.577873861695517</c:v>
                </c:pt>
                <c:pt idx="1601">
                  <c:v>2.5907054861428134</c:v>
                </c:pt>
                <c:pt idx="1602">
                  <c:v>2.5396193005443837</c:v>
                </c:pt>
                <c:pt idx="1603">
                  <c:v>2.4773149555899638</c:v>
                </c:pt>
                <c:pt idx="1604">
                  <c:v>2.5382249923721751</c:v>
                </c:pt>
                <c:pt idx="1605">
                  <c:v>2.5460382223778706</c:v>
                </c:pt>
                <c:pt idx="1606">
                  <c:v>2.506699752595587</c:v>
                </c:pt>
                <c:pt idx="1607">
                  <c:v>2.5304967295196472</c:v>
                </c:pt>
                <c:pt idx="1608">
                  <c:v>2.5666675425836094</c:v>
                </c:pt>
                <c:pt idx="1609">
                  <c:v>2.505403678433185</c:v>
                </c:pt>
                <c:pt idx="1610">
                  <c:v>2.5086747190150076</c:v>
                </c:pt>
                <c:pt idx="1611">
                  <c:v>2.5043430310739954</c:v>
                </c:pt>
                <c:pt idx="1612">
                  <c:v>2.4452716949271665</c:v>
                </c:pt>
                <c:pt idx="1613">
                  <c:v>2.4666090791970423</c:v>
                </c:pt>
                <c:pt idx="1614">
                  <c:v>2.4741541153476847</c:v>
                </c:pt>
                <c:pt idx="1615">
                  <c:v>2.4533803496636839</c:v>
                </c:pt>
                <c:pt idx="1616">
                  <c:v>2.4036627002068203</c:v>
                </c:pt>
                <c:pt idx="1617">
                  <c:v>2.3900914009931031</c:v>
                </c:pt>
                <c:pt idx="1618">
                  <c:v>2.3810898086246177</c:v>
                </c:pt>
                <c:pt idx="1619">
                  <c:v>2.3683046897809144</c:v>
                </c:pt>
                <c:pt idx="1620">
                  <c:v>2.3683046897809144</c:v>
                </c:pt>
                <c:pt idx="1621">
                  <c:v>2.3423674531243925</c:v>
                </c:pt>
                <c:pt idx="1622">
                  <c:v>2.3350106471155687</c:v>
                </c:pt>
                <c:pt idx="1623">
                  <c:v>2.3574006645110117</c:v>
                </c:pt>
                <c:pt idx="1624">
                  <c:v>2.3372897830544157</c:v>
                </c:pt>
                <c:pt idx="1625">
                  <c:v>2.3464851566719154</c:v>
                </c:pt>
                <c:pt idx="1626">
                  <c:v>2.2443667488098513</c:v>
                </c:pt>
                <c:pt idx="1627">
                  <c:v>2.3192255727997373</c:v>
                </c:pt>
                <c:pt idx="1628">
                  <c:v>2.3246393964137733</c:v>
                </c:pt>
                <c:pt idx="1629">
                  <c:v>2.3148223655028177</c:v>
                </c:pt>
                <c:pt idx="1630">
                  <c:v>2.2562188315803877</c:v>
                </c:pt>
                <c:pt idx="1631">
                  <c:v>2.1985572615894942</c:v>
                </c:pt>
                <c:pt idx="1632">
                  <c:v>2.2162946560576842</c:v>
                </c:pt>
                <c:pt idx="1633">
                  <c:v>2.2009634582133852</c:v>
                </c:pt>
                <c:pt idx="1634">
                  <c:v>2.1432682837361177</c:v>
                </c:pt>
                <c:pt idx="1635">
                  <c:v>2.1557414155301</c:v>
                </c:pt>
                <c:pt idx="1636">
                  <c:v>2.1077518900069974</c:v>
                </c:pt>
                <c:pt idx="1637">
                  <c:v>1.9947033502015816</c:v>
                </c:pt>
                <c:pt idx="1638">
                  <c:v>1.9455262245215657</c:v>
                </c:pt>
                <c:pt idx="1639">
                  <c:v>1.9496190740899346</c:v>
                </c:pt>
                <c:pt idx="1640">
                  <c:v>1.8417759611269477</c:v>
                </c:pt>
                <c:pt idx="1641">
                  <c:v>1.8525632244588752</c:v>
                </c:pt>
                <c:pt idx="1642">
                  <c:v>1.881655276418174</c:v>
                </c:pt>
                <c:pt idx="1643">
                  <c:v>1.8227136833479525</c:v>
                </c:pt>
                <c:pt idx="1644">
                  <c:v>1.8759350032480178</c:v>
                </c:pt>
                <c:pt idx="1645">
                  <c:v>1.85582034569753</c:v>
                </c:pt>
                <c:pt idx="1646">
                  <c:v>1.9682078447822</c:v>
                </c:pt>
                <c:pt idx="1647">
                  <c:v>1.981187862912646</c:v>
                </c:pt>
                <c:pt idx="1648">
                  <c:v>1.9598675082152295</c:v>
                </c:pt>
                <c:pt idx="1649">
                  <c:v>1.9394583322643304</c:v>
                </c:pt>
                <c:pt idx="1650">
                  <c:v>1.922594922460183</c:v>
                </c:pt>
                <c:pt idx="1651">
                  <c:v>1.8809039217962231</c:v>
                </c:pt>
                <c:pt idx="1652">
                  <c:v>1.9251822222251427</c:v>
                </c:pt>
                <c:pt idx="1653">
                  <c:v>1.9015059552580016</c:v>
                </c:pt>
                <c:pt idx="1654">
                  <c:v>1.9097549723292977</c:v>
                </c:pt>
                <c:pt idx="1655">
                  <c:v>1.8414915419514057</c:v>
                </c:pt>
                <c:pt idx="1656">
                  <c:v>1.9280798175993927</c:v>
                </c:pt>
                <c:pt idx="1657">
                  <c:v>1.8742595510824505</c:v>
                </c:pt>
                <c:pt idx="1658">
                  <c:v>1.8854430279905663</c:v>
                </c:pt>
                <c:pt idx="1659">
                  <c:v>1.9460652953951203</c:v>
                </c:pt>
                <c:pt idx="1660">
                  <c:v>1.9452786568796678</c:v>
                </c:pt>
                <c:pt idx="1661">
                  <c:v>1.9065087777343774</c:v>
                </c:pt>
                <c:pt idx="1662">
                  <c:v>1.9439186702928741</c:v>
                </c:pt>
                <c:pt idx="1663">
                  <c:v>1.9423608444963918</c:v>
                </c:pt>
                <c:pt idx="1664">
                  <c:v>1.9518872351789114</c:v>
                </c:pt>
                <c:pt idx="1665">
                  <c:v>1.8923356888424019</c:v>
                </c:pt>
                <c:pt idx="1666">
                  <c:v>1.8740320702290509</c:v>
                </c:pt>
                <c:pt idx="1667">
                  <c:v>1.8718869791052912</c:v>
                </c:pt>
                <c:pt idx="1668">
                  <c:v>1.9140966368535863</c:v>
                </c:pt>
                <c:pt idx="1669">
                  <c:v>1.9174974389115003</c:v>
                </c:pt>
                <c:pt idx="1670">
                  <c:v>1.8836485477470728</c:v>
                </c:pt>
                <c:pt idx="1671">
                  <c:v>1.8781913975444096</c:v>
                </c:pt>
                <c:pt idx="1672">
                  <c:v>1.8441572927633287</c:v>
                </c:pt>
                <c:pt idx="1673">
                  <c:v>1.8386620831227702</c:v>
                </c:pt>
                <c:pt idx="1674">
                  <c:v>1.8596492762876007</c:v>
                </c:pt>
                <c:pt idx="1675">
                  <c:v>1.8508522449098648</c:v>
                </c:pt>
                <c:pt idx="1676">
                  <c:v>1.7955671961803201</c:v>
                </c:pt>
                <c:pt idx="1677">
                  <c:v>1.8009786980756843</c:v>
                </c:pt>
                <c:pt idx="1678">
                  <c:v>1.8601754442996941</c:v>
                </c:pt>
                <c:pt idx="1679">
                  <c:v>1.8850931376330071</c:v>
                </c:pt>
                <c:pt idx="1680">
                  <c:v>1.832906830533342</c:v>
                </c:pt>
                <c:pt idx="1681">
                  <c:v>1.9123398735981807</c:v>
                </c:pt>
                <c:pt idx="1682">
                  <c:v>1.8944634426499727</c:v>
                </c:pt>
                <c:pt idx="1683">
                  <c:v>1.9111945418513794</c:v>
                </c:pt>
                <c:pt idx="1684">
                  <c:v>1.9065873019916741</c:v>
                </c:pt>
                <c:pt idx="1685">
                  <c:v>1.9863181681464748</c:v>
                </c:pt>
                <c:pt idx="1686">
                  <c:v>1.934940288586491</c:v>
                </c:pt>
                <c:pt idx="1687">
                  <c:v>1.929014413818734</c:v>
                </c:pt>
                <c:pt idx="1688">
                  <c:v>1.9305427592525775</c:v>
                </c:pt>
                <c:pt idx="1689">
                  <c:v>1.9812880715187653</c:v>
                </c:pt>
                <c:pt idx="1690">
                  <c:v>2.0217722493899144</c:v>
                </c:pt>
                <c:pt idx="1691">
                  <c:v>2.0170034309131402</c:v>
                </c:pt>
                <c:pt idx="1692">
                  <c:v>1.9524757333967513</c:v>
                </c:pt>
                <c:pt idx="1693">
                  <c:v>2.0326148506287378</c:v>
                </c:pt>
                <c:pt idx="1694">
                  <c:v>2.1181214085860152</c:v>
                </c:pt>
                <c:pt idx="1695">
                  <c:v>2.1707529405850439</c:v>
                </c:pt>
                <c:pt idx="1696">
                  <c:v>2.1985102514939117</c:v>
                </c:pt>
                <c:pt idx="1697">
                  <c:v>2.2069821068483333</c:v>
                </c:pt>
                <c:pt idx="1698">
                  <c:v>2.1601153264618702</c:v>
                </c:pt>
                <c:pt idx="1699">
                  <c:v>2.1543290942425664</c:v>
                </c:pt>
                <c:pt idx="1700">
                  <c:v>2.3537421722347029</c:v>
                </c:pt>
                <c:pt idx="1701">
                  <c:v>2.3535251942023954</c:v>
                </c:pt>
                <c:pt idx="1702">
                  <c:v>2.3335221734166809</c:v>
                </c:pt>
                <c:pt idx="1703">
                  <c:v>2.4403078695807245</c:v>
                </c:pt>
                <c:pt idx="1704">
                  <c:v>2.4302852325169093</c:v>
                </c:pt>
                <c:pt idx="1705">
                  <c:v>2.4787428364408464</c:v>
                </c:pt>
                <c:pt idx="1706">
                  <c:v>2.4996524124282002</c:v>
                </c:pt>
                <c:pt idx="1707">
                  <c:v>2.4982854574758377</c:v>
                </c:pt>
                <c:pt idx="1708">
                  <c:v>2.534644084020258</c:v>
                </c:pt>
                <c:pt idx="1709">
                  <c:v>2.5810431232479925</c:v>
                </c:pt>
                <c:pt idx="1710">
                  <c:v>2.6874752865799487</c:v>
                </c:pt>
                <c:pt idx="1711">
                  <c:v>2.6632788159497434</c:v>
                </c:pt>
                <c:pt idx="1712">
                  <c:v>2.7030942165059102</c:v>
                </c:pt>
                <c:pt idx="1713">
                  <c:v>2.7711905226275388</c:v>
                </c:pt>
                <c:pt idx="1714">
                  <c:v>2.788354577545467</c:v>
                </c:pt>
                <c:pt idx="1715">
                  <c:v>2.7717365343729878</c:v>
                </c:pt>
                <c:pt idx="1716">
                  <c:v>2.766640560409074</c:v>
                </c:pt>
                <c:pt idx="1717">
                  <c:v>2.7090706415405377</c:v>
                </c:pt>
                <c:pt idx="1718">
                  <c:v>2.7386016877143269</c:v>
                </c:pt>
                <c:pt idx="1719">
                  <c:v>2.5838466136526037</c:v>
                </c:pt>
                <c:pt idx="1720">
                  <c:v>2.5824863367849278</c:v>
                </c:pt>
                <c:pt idx="1721">
                  <c:v>2.5882595849915937</c:v>
                </c:pt>
                <c:pt idx="1722">
                  <c:v>2.5324823207012148</c:v>
                </c:pt>
                <c:pt idx="1723">
                  <c:v>2.5827323355488083</c:v>
                </c:pt>
                <c:pt idx="1724">
                  <c:v>2.3830818156053559</c:v>
                </c:pt>
                <c:pt idx="1725">
                  <c:v>2.2351959809891921</c:v>
                </c:pt>
                <c:pt idx="1726">
                  <c:v>1.9718031340643614</c:v>
                </c:pt>
                <c:pt idx="1727">
                  <c:v>1.9760820229660274</c:v>
                </c:pt>
                <c:pt idx="1728">
                  <c:v>1.8404290948983968</c:v>
                </c:pt>
                <c:pt idx="1729">
                  <c:v>1.6833811822658253</c:v>
                </c:pt>
                <c:pt idx="1730">
                  <c:v>1.6613100201907209</c:v>
                </c:pt>
                <c:pt idx="1731">
                  <c:v>1.6103716514222366</c:v>
                </c:pt>
                <c:pt idx="1732">
                  <c:v>1.6042164448178067</c:v>
                </c:pt>
                <c:pt idx="1733">
                  <c:v>1.6025965679096024</c:v>
                </c:pt>
                <c:pt idx="1734">
                  <c:v>1.696155499555948</c:v>
                </c:pt>
                <c:pt idx="1735">
                  <c:v>1.6981400651361911</c:v>
                </c:pt>
                <c:pt idx="1736">
                  <c:v>1.7045901073914445</c:v>
                </c:pt>
                <c:pt idx="1737">
                  <c:v>1.6364453712316687</c:v>
                </c:pt>
                <c:pt idx="1738">
                  <c:v>1.602713216758511</c:v>
                </c:pt>
                <c:pt idx="1739">
                  <c:v>1.6257540650546745</c:v>
                </c:pt>
                <c:pt idx="1740">
                  <c:v>1.6229171202194395</c:v>
                </c:pt>
                <c:pt idx="1741">
                  <c:v>1.5998598779718505</c:v>
                </c:pt>
                <c:pt idx="1742">
                  <c:v>1.5678076121303712</c:v>
                </c:pt>
                <c:pt idx="1743">
                  <c:v>1.603927449134767</c:v>
                </c:pt>
                <c:pt idx="1744">
                  <c:v>1.8553439385802613</c:v>
                </c:pt>
                <c:pt idx="1745">
                  <c:v>1.8443451942091245</c:v>
                </c:pt>
                <c:pt idx="1746">
                  <c:v>1.8243874245028493</c:v>
                </c:pt>
                <c:pt idx="1747">
                  <c:v>1.7947793791588156</c:v>
                </c:pt>
                <c:pt idx="1748">
                  <c:v>1.9364157841497269</c:v>
                </c:pt>
                <c:pt idx="1749">
                  <c:v>1.9366048387604515</c:v>
                </c:pt>
                <c:pt idx="1750">
                  <c:v>2.0774018306784554</c:v>
                </c:pt>
                <c:pt idx="1751">
                  <c:v>2.0595508700354768</c:v>
                </c:pt>
                <c:pt idx="1752">
                  <c:v>2.0613045715092961</c:v>
                </c:pt>
                <c:pt idx="1753">
                  <c:v>2.1645563229528366</c:v>
                </c:pt>
                <c:pt idx="1754">
                  <c:v>2.386756150234068</c:v>
                </c:pt>
                <c:pt idx="1755">
                  <c:v>2.3964417433672547</c:v>
                </c:pt>
                <c:pt idx="1756">
                  <c:v>2.3906123991988295</c:v>
                </c:pt>
                <c:pt idx="1757">
                  <c:v>2.3113813009910946</c:v>
                </c:pt>
                <c:pt idx="1758">
                  <c:v>2.2385891688080366</c:v>
                </c:pt>
                <c:pt idx="1759">
                  <c:v>2.1669416198091387</c:v>
                </c:pt>
                <c:pt idx="1760">
                  <c:v>2.1996605867871257</c:v>
                </c:pt>
                <c:pt idx="1761">
                  <c:v>2.252312576158968</c:v>
                </c:pt>
                <c:pt idx="1762">
                  <c:v>2.4078333895836548</c:v>
                </c:pt>
                <c:pt idx="1763">
                  <c:v>2.3893879726056535</c:v>
                </c:pt>
                <c:pt idx="1764">
                  <c:v>2.4247143480050348</c:v>
                </c:pt>
                <c:pt idx="1765">
                  <c:v>2.3880804194319265</c:v>
                </c:pt>
                <c:pt idx="1766">
                  <c:v>2.374825137428402</c:v>
                </c:pt>
                <c:pt idx="1767">
                  <c:v>2.2905106551729904</c:v>
                </c:pt>
                <c:pt idx="1768">
                  <c:v>2.2653735995105859</c:v>
                </c:pt>
                <c:pt idx="1769">
                  <c:v>2.2776735308673275</c:v>
                </c:pt>
                <c:pt idx="1770">
                  <c:v>2.354159604958006</c:v>
                </c:pt>
                <c:pt idx="1771">
                  <c:v>2.4511788514805426</c:v>
                </c:pt>
                <c:pt idx="1772">
                  <c:v>2.3839956704452749</c:v>
                </c:pt>
                <c:pt idx="1773">
                  <c:v>2.4103778822210051</c:v>
                </c:pt>
                <c:pt idx="1774">
                  <c:v>2.4002466546252705</c:v>
                </c:pt>
                <c:pt idx="1775">
                  <c:v>2.3457363361784025</c:v>
                </c:pt>
                <c:pt idx="1776">
                  <c:v>2.310409533071208</c:v>
                </c:pt>
                <c:pt idx="1777">
                  <c:v>2.2964749689854216</c:v>
                </c:pt>
                <c:pt idx="1778">
                  <c:v>2.2792015620860653</c:v>
                </c:pt>
                <c:pt idx="1779">
                  <c:v>2.2107387501063118</c:v>
                </c:pt>
                <c:pt idx="1780">
                  <c:v>2.1940206488933716</c:v>
                </c:pt>
                <c:pt idx="1781">
                  <c:v>2.1993078179129295</c:v>
                </c:pt>
                <c:pt idx="1782">
                  <c:v>2.1247950632910539</c:v>
                </c:pt>
                <c:pt idx="1783">
                  <c:v>2.1657980297636543</c:v>
                </c:pt>
                <c:pt idx="1784">
                  <c:v>2.0932217458924329</c:v>
                </c:pt>
                <c:pt idx="1785">
                  <c:v>2.1058311745909655</c:v>
                </c:pt>
                <c:pt idx="1786">
                  <c:v>2.1042354841002902</c:v>
                </c:pt>
                <c:pt idx="1787">
                  <c:v>2.0821331434138042</c:v>
                </c:pt>
                <c:pt idx="1788">
                  <c:v>2.0784704754774279</c:v>
                </c:pt>
                <c:pt idx="1789">
                  <c:v>2.0309497558533542</c:v>
                </c:pt>
                <c:pt idx="1790">
                  <c:v>1.9167414005692625</c:v>
                </c:pt>
                <c:pt idx="1791">
                  <c:v>1.8775783007592763</c:v>
                </c:pt>
                <c:pt idx="1792">
                  <c:v>1.8930355377196277</c:v>
                </c:pt>
                <c:pt idx="1793">
                  <c:v>1.8970681784272314</c:v>
                </c:pt>
                <c:pt idx="1794">
                  <c:v>1.9367920111322912</c:v>
                </c:pt>
                <c:pt idx="1795">
                  <c:v>1.8768326024075412</c:v>
                </c:pt>
                <c:pt idx="1796">
                  <c:v>1.910203785698612</c:v>
                </c:pt>
                <c:pt idx="1797">
                  <c:v>1.9169412163298729</c:v>
                </c:pt>
                <c:pt idx="1798">
                  <c:v>1.8308519871265068</c:v>
                </c:pt>
                <c:pt idx="1799">
                  <c:v>1.7748060046486709</c:v>
                </c:pt>
                <c:pt idx="1800">
                  <c:v>1.7662791389727186</c:v>
                </c:pt>
                <c:pt idx="1801">
                  <c:v>1.7531471247118253</c:v>
                </c:pt>
                <c:pt idx="1802">
                  <c:v>1.7058468734382004</c:v>
                </c:pt>
                <c:pt idx="1803">
                  <c:v>1.7118992467616132</c:v>
                </c:pt>
                <c:pt idx="1804">
                  <c:v>1.8272933658644077</c:v>
                </c:pt>
                <c:pt idx="1805">
                  <c:v>1.886700968188832</c:v>
                </c:pt>
                <c:pt idx="1806">
                  <c:v>1.8834775797161569</c:v>
                </c:pt>
                <c:pt idx="1807">
                  <c:v>1.8358867336504112</c:v>
                </c:pt>
                <c:pt idx="1808">
                  <c:v>1.9683913364243735</c:v>
                </c:pt>
                <c:pt idx="1809">
                  <c:v>1.9684399815240849</c:v>
                </c:pt>
                <c:pt idx="1810">
                  <c:v>1.9945045617523545</c:v>
                </c:pt>
                <c:pt idx="1811">
                  <c:v>2.065821876323898</c:v>
                </c:pt>
                <c:pt idx="1812">
                  <c:v>2.0732570955687128</c:v>
                </c:pt>
                <c:pt idx="1813">
                  <c:v>2.0686421456546698</c:v>
                </c:pt>
                <c:pt idx="1814">
                  <c:v>2.0609529181302269</c:v>
                </c:pt>
                <c:pt idx="1815">
                  <c:v>2.0985866042951806</c:v>
                </c:pt>
                <c:pt idx="1816">
                  <c:v>2.1002676393568986</c:v>
                </c:pt>
                <c:pt idx="1817">
                  <c:v>2.1308719295192993</c:v>
                </c:pt>
                <c:pt idx="1818">
                  <c:v>2.1284911085470983</c:v>
                </c:pt>
                <c:pt idx="1819">
                  <c:v>2.2234348611848684</c:v>
                </c:pt>
                <c:pt idx="1820">
                  <c:v>2.2832081009951528</c:v>
                </c:pt>
                <c:pt idx="1821">
                  <c:v>2.2606547488740771</c:v>
                </c:pt>
                <c:pt idx="1822">
                  <c:v>2.2381927088771567</c:v>
                </c:pt>
                <c:pt idx="1823">
                  <c:v>2.26965853428637</c:v>
                </c:pt>
                <c:pt idx="1824">
                  <c:v>2.2417123047318723</c:v>
                </c:pt>
                <c:pt idx="1825">
                  <c:v>2.3089634567710453</c:v>
                </c:pt>
                <c:pt idx="1826">
                  <c:v>2.2660487873141828</c:v>
                </c:pt>
                <c:pt idx="1827">
                  <c:v>2.2723783222186942</c:v>
                </c:pt>
                <c:pt idx="1828">
                  <c:v>2.267695244358932</c:v>
                </c:pt>
                <c:pt idx="1829">
                  <c:v>2.3430095070057342</c:v>
                </c:pt>
                <c:pt idx="1830">
                  <c:v>2.3593997881074733</c:v>
                </c:pt>
                <c:pt idx="1831">
                  <c:v>2.3750315302412242</c:v>
                </c:pt>
                <c:pt idx="1832">
                  <c:v>2.3761556561974926</c:v>
                </c:pt>
                <c:pt idx="1833">
                  <c:v>2.4148431946199844</c:v>
                </c:pt>
                <c:pt idx="1834">
                  <c:v>2.305267900503964</c:v>
                </c:pt>
                <c:pt idx="1835">
                  <c:v>2.2987208208845642</c:v>
                </c:pt>
                <c:pt idx="1836">
                  <c:v>2.2975141550958877</c:v>
                </c:pt>
                <c:pt idx="1837">
                  <c:v>2.3168897171493747</c:v>
                </c:pt>
                <c:pt idx="1838">
                  <c:v>2.2020570363668064</c:v>
                </c:pt>
                <c:pt idx="1839">
                  <c:v>2.241244768744064</c:v>
                </c:pt>
                <c:pt idx="1840">
                  <c:v>2.2785959756009184</c:v>
                </c:pt>
                <c:pt idx="1841">
                  <c:v>2.2725328234476212</c:v>
                </c:pt>
                <c:pt idx="1842">
                  <c:v>2.2652680098511158</c:v>
                </c:pt>
                <c:pt idx="1843">
                  <c:v>2.2221948385001009</c:v>
                </c:pt>
                <c:pt idx="1844">
                  <c:v>2.2257630351475521</c:v>
                </c:pt>
                <c:pt idx="1845">
                  <c:v>2.1524284049365052</c:v>
                </c:pt>
                <c:pt idx="1846">
                  <c:v>2.1687733508690852</c:v>
                </c:pt>
                <c:pt idx="1847">
                  <c:v>2.2281107757367264</c:v>
                </c:pt>
                <c:pt idx="1848">
                  <c:v>2.2829442241913185</c:v>
                </c:pt>
                <c:pt idx="1849">
                  <c:v>2.2092855674908307</c:v>
                </c:pt>
                <c:pt idx="1850">
                  <c:v>2.089145501304261</c:v>
                </c:pt>
                <c:pt idx="1851">
                  <c:v>2.1670370963055774</c:v>
                </c:pt>
                <c:pt idx="1852">
                  <c:v>2.1190551206494646</c:v>
                </c:pt>
                <c:pt idx="1853">
                  <c:v>2.0337103927138958</c:v>
                </c:pt>
                <c:pt idx="1854">
                  <c:v>2.0398184047009993</c:v>
                </c:pt>
                <c:pt idx="1855">
                  <c:v>1.9961029763614409</c:v>
                </c:pt>
                <c:pt idx="1856">
                  <c:v>2.0077146735321554</c:v>
                </c:pt>
                <c:pt idx="1857">
                  <c:v>2.0479458646782622</c:v>
                </c:pt>
                <c:pt idx="1858">
                  <c:v>2.1441839568668866</c:v>
                </c:pt>
                <c:pt idx="1859">
                  <c:v>2.1020785671021787</c:v>
                </c:pt>
                <c:pt idx="1860">
                  <c:v>2.0629750964793128</c:v>
                </c:pt>
                <c:pt idx="1861">
                  <c:v>2.0296052388746251</c:v>
                </c:pt>
                <c:pt idx="1862">
                  <c:v>2.0204183339432764</c:v>
                </c:pt>
                <c:pt idx="1863">
                  <c:v>2.0321777398855079</c:v>
                </c:pt>
                <c:pt idx="1864">
                  <c:v>2.1301946548608179</c:v>
                </c:pt>
                <c:pt idx="1865">
                  <c:v>2.0843328503808989</c:v>
                </c:pt>
                <c:pt idx="1866">
                  <c:v>2.0600923817294232</c:v>
                </c:pt>
                <c:pt idx="1867">
                  <c:v>2.0292719663942553</c:v>
                </c:pt>
                <c:pt idx="1868">
                  <c:v>2.0827340982981757</c:v>
                </c:pt>
                <c:pt idx="1869">
                  <c:v>2.085466452362382</c:v>
                </c:pt>
                <c:pt idx="1870">
                  <c:v>2.0818922383509686</c:v>
                </c:pt>
                <c:pt idx="1871">
                  <c:v>2.001177671701142</c:v>
                </c:pt>
                <c:pt idx="1872">
                  <c:v>2.0051227260159115</c:v>
                </c:pt>
                <c:pt idx="1873">
                  <c:v>1.9747663404472779</c:v>
                </c:pt>
                <c:pt idx="1874">
                  <c:v>2.0387968743783231</c:v>
                </c:pt>
                <c:pt idx="1875">
                  <c:v>2.0336094974470309</c:v>
                </c:pt>
                <c:pt idx="1876">
                  <c:v>2.0612257658107827</c:v>
                </c:pt>
                <c:pt idx="1877">
                  <c:v>2.0362893701937477</c:v>
                </c:pt>
                <c:pt idx="1878">
                  <c:v>2.0067820792676034</c:v>
                </c:pt>
                <c:pt idx="1879">
                  <c:v>1.9026483320377661</c:v>
                </c:pt>
                <c:pt idx="1880">
                  <c:v>1.898377662781094</c:v>
                </c:pt>
                <c:pt idx="1881">
                  <c:v>1.9144452952353441</c:v>
                </c:pt>
                <c:pt idx="1882">
                  <c:v>1.962755810926496</c:v>
                </c:pt>
                <c:pt idx="1883">
                  <c:v>1.9813972883324202</c:v>
                </c:pt>
                <c:pt idx="1884">
                  <c:v>1.964678020088285</c:v>
                </c:pt>
                <c:pt idx="1885">
                  <c:v>1.9980060355695406</c:v>
                </c:pt>
                <c:pt idx="1886">
                  <c:v>1.9583053918118849</c:v>
                </c:pt>
                <c:pt idx="1887">
                  <c:v>1.9636054991962677</c:v>
                </c:pt>
                <c:pt idx="1888">
                  <c:v>1.9312851314482709</c:v>
                </c:pt>
                <c:pt idx="1889">
                  <c:v>1.9863052556047489</c:v>
                </c:pt>
                <c:pt idx="1890">
                  <c:v>1.9996203686437035</c:v>
                </c:pt>
                <c:pt idx="1891">
                  <c:v>1.932331937339818</c:v>
                </c:pt>
                <c:pt idx="1892">
                  <c:v>1.9475700175132973</c:v>
                </c:pt>
                <c:pt idx="1893">
                  <c:v>1.9531983888083422</c:v>
                </c:pt>
                <c:pt idx="1894">
                  <c:v>1.9101130766062635</c:v>
                </c:pt>
                <c:pt idx="1895">
                  <c:v>1.92910827202178</c:v>
                </c:pt>
                <c:pt idx="1896">
                  <c:v>2.1139191842332474</c:v>
                </c:pt>
                <c:pt idx="1897">
                  <c:v>2.1139924307669995</c:v>
                </c:pt>
                <c:pt idx="1898">
                  <c:v>1.9737431955441589</c:v>
                </c:pt>
                <c:pt idx="1899">
                  <c:v>1.9978109992761375</c:v>
                </c:pt>
                <c:pt idx="1900">
                  <c:v>2.1153412411578354</c:v>
                </c:pt>
                <c:pt idx="1901">
                  <c:v>2.1527814425955838</c:v>
                </c:pt>
                <c:pt idx="1902">
                  <c:v>2.196760484399543</c:v>
                </c:pt>
                <c:pt idx="1903">
                  <c:v>2.2094320122289148</c:v>
                </c:pt>
                <c:pt idx="1904">
                  <c:v>2.1898125917194031</c:v>
                </c:pt>
                <c:pt idx="1905">
                  <c:v>2.1899364811755477</c:v>
                </c:pt>
                <c:pt idx="1906">
                  <c:v>2.2563313282806887</c:v>
                </c:pt>
                <c:pt idx="1907">
                  <c:v>2.2527421412436266</c:v>
                </c:pt>
                <c:pt idx="1908">
                  <c:v>2.2458012922954915</c:v>
                </c:pt>
                <c:pt idx="1909">
                  <c:v>2.3502458897691398</c:v>
                </c:pt>
                <c:pt idx="1910">
                  <c:v>2.3476077372432287</c:v>
                </c:pt>
                <c:pt idx="1911">
                  <c:v>2.3095903655198944</c:v>
                </c:pt>
                <c:pt idx="1912">
                  <c:v>2.2478306990773635</c:v>
                </c:pt>
                <c:pt idx="1913">
                  <c:v>2.1936180393571987</c:v>
                </c:pt>
                <c:pt idx="1914">
                  <c:v>2.0874944631893739</c:v>
                </c:pt>
                <c:pt idx="1915">
                  <c:v>1.9673791683985318</c:v>
                </c:pt>
                <c:pt idx="1916">
                  <c:v>1.8974182636560719</c:v>
                </c:pt>
                <c:pt idx="1917">
                  <c:v>1.6164243212123766</c:v>
                </c:pt>
                <c:pt idx="1918">
                  <c:v>1.6205224169881882</c:v>
                </c:pt>
                <c:pt idx="1919">
                  <c:v>1.6798091872802479</c:v>
                </c:pt>
                <c:pt idx="1920">
                  <c:v>1.6844856137806874</c:v>
                </c:pt>
                <c:pt idx="1921">
                  <c:v>1.6189877414962213</c:v>
                </c:pt>
                <c:pt idx="1922">
                  <c:v>1.6457988751649031</c:v>
                </c:pt>
                <c:pt idx="1923">
                  <c:v>1.6616808487459911</c:v>
                </c:pt>
                <c:pt idx="1924">
                  <c:v>1.6763974319824202</c:v>
                </c:pt>
                <c:pt idx="1925">
                  <c:v>1.7698783205343478</c:v>
                </c:pt>
                <c:pt idx="1926">
                  <c:v>1.7285884006434775</c:v>
                </c:pt>
                <c:pt idx="1927">
                  <c:v>1.6917684134586177</c:v>
                </c:pt>
                <c:pt idx="1928">
                  <c:v>1.6600130129585711</c:v>
                </c:pt>
                <c:pt idx="1929">
                  <c:v>1.6674270897549084</c:v>
                </c:pt>
                <c:pt idx="1930">
                  <c:v>1.6545126134970285</c:v>
                </c:pt>
                <c:pt idx="1931">
                  <c:v>1.7434685889407815</c:v>
                </c:pt>
                <c:pt idx="1932">
                  <c:v>1.8354545273403187</c:v>
                </c:pt>
                <c:pt idx="1933">
                  <c:v>1.9772472283634295</c:v>
                </c:pt>
                <c:pt idx="1934">
                  <c:v>1.9750552309224827</c:v>
                </c:pt>
                <c:pt idx="1935">
                  <c:v>2.2693621900638226</c:v>
                </c:pt>
                <c:pt idx="1936">
                  <c:v>2.2141907840893382</c:v>
                </c:pt>
                <c:pt idx="1937">
                  <c:v>2.2723873518003086</c:v>
                </c:pt>
                <c:pt idx="1938">
                  <c:v>2.4093154604442697</c:v>
                </c:pt>
                <c:pt idx="1939">
                  <c:v>2.5009211564079763</c:v>
                </c:pt>
                <c:pt idx="1940">
                  <c:v>2.556129355720596</c:v>
                </c:pt>
                <c:pt idx="1941">
                  <c:v>2.5346655963993432</c:v>
                </c:pt>
                <c:pt idx="1942">
                  <c:v>2.4638389024774074</c:v>
                </c:pt>
                <c:pt idx="1943">
                  <c:v>2.4098370327795831</c:v>
                </c:pt>
                <c:pt idx="1944">
                  <c:v>2.570042833726538</c:v>
                </c:pt>
                <c:pt idx="1945">
                  <c:v>2.5611227737574302</c:v>
                </c:pt>
                <c:pt idx="1946">
                  <c:v>2.5595585523486486</c:v>
                </c:pt>
                <c:pt idx="1947">
                  <c:v>2.4573880362821301</c:v>
                </c:pt>
                <c:pt idx="1948">
                  <c:v>2.56901915312798</c:v>
                </c:pt>
                <c:pt idx="1949">
                  <c:v>2.5560315404313156</c:v>
                </c:pt>
                <c:pt idx="1950">
                  <c:v>2.6395077277651757</c:v>
                </c:pt>
                <c:pt idx="1951">
                  <c:v>2.6139315902499618</c:v>
                </c:pt>
                <c:pt idx="1952">
                  <c:v>2.4870053844481621</c:v>
                </c:pt>
                <c:pt idx="1953">
                  <c:v>2.4907554735292909</c:v>
                </c:pt>
                <c:pt idx="1954">
                  <c:v>2.4080644093705255</c:v>
                </c:pt>
                <c:pt idx="1955">
                  <c:v>2.4488171091691955</c:v>
                </c:pt>
                <c:pt idx="1956">
                  <c:v>2.4720379056273694</c:v>
                </c:pt>
                <c:pt idx="1957">
                  <c:v>2.3596130858035909</c:v>
                </c:pt>
                <c:pt idx="1958">
                  <c:v>2.3111744851292491</c:v>
                </c:pt>
                <c:pt idx="1959">
                  <c:v>2.190349482159065</c:v>
                </c:pt>
                <c:pt idx="1960">
                  <c:v>2.1725827699922009</c:v>
                </c:pt>
                <c:pt idx="1961">
                  <c:v>2.2243487086636042</c:v>
                </c:pt>
                <c:pt idx="1962">
                  <c:v>2.2649509596931141</c:v>
                </c:pt>
                <c:pt idx="1963">
                  <c:v>2.3000662882142189</c:v>
                </c:pt>
                <c:pt idx="1964">
                  <c:v>2.2525865356304213</c:v>
                </c:pt>
                <c:pt idx="1965">
                  <c:v>2.1697686251689037</c:v>
                </c:pt>
                <c:pt idx="1966">
                  <c:v>2.1960543043051111</c:v>
                </c:pt>
                <c:pt idx="1967">
                  <c:v>2.2582694999105546</c:v>
                </c:pt>
                <c:pt idx="1968">
                  <c:v>2.2882803248848362</c:v>
                </c:pt>
                <c:pt idx="1969">
                  <c:v>2.3222218570944104</c:v>
                </c:pt>
                <c:pt idx="1970">
                  <c:v>2.3147327385257008</c:v>
                </c:pt>
                <c:pt idx="1971">
                  <c:v>2.3156544503423486</c:v>
                </c:pt>
                <c:pt idx="1972">
                  <c:v>2.369867279488461</c:v>
                </c:pt>
                <c:pt idx="1973">
                  <c:v>2.31500456349477</c:v>
                </c:pt>
                <c:pt idx="1974">
                  <c:v>2.3117892066521017</c:v>
                </c:pt>
                <c:pt idx="1975">
                  <c:v>2.3033448611007641</c:v>
                </c:pt>
                <c:pt idx="1976">
                  <c:v>2.3208322586834558</c:v>
                </c:pt>
                <c:pt idx="1977">
                  <c:v>2.3264810565708598</c:v>
                </c:pt>
                <c:pt idx="1978">
                  <c:v>2.28444926928786</c:v>
                </c:pt>
                <c:pt idx="1979">
                  <c:v>2.23500829706833</c:v>
                </c:pt>
                <c:pt idx="1980">
                  <c:v>2.1970191469230338</c:v>
                </c:pt>
                <c:pt idx="1981">
                  <c:v>2.0969150940275916</c:v>
                </c:pt>
                <c:pt idx="1982">
                  <c:v>2.0924360423299837</c:v>
                </c:pt>
                <c:pt idx="1983">
                  <c:v>2.0525281151160577</c:v>
                </c:pt>
                <c:pt idx="1984">
                  <c:v>2.0102996879036978</c:v>
                </c:pt>
                <c:pt idx="1985">
                  <c:v>2.0755471294979917</c:v>
                </c:pt>
                <c:pt idx="1986">
                  <c:v>2.0382693724745344</c:v>
                </c:pt>
                <c:pt idx="1987">
                  <c:v>2.0537801998139673</c:v>
                </c:pt>
                <c:pt idx="1988">
                  <c:v>1.9354987005706576</c:v>
                </c:pt>
                <c:pt idx="1989">
                  <c:v>2.0061992836426366</c:v>
                </c:pt>
                <c:pt idx="1990">
                  <c:v>2.0336832075374316</c:v>
                </c:pt>
                <c:pt idx="1991">
                  <c:v>1.960902253059291</c:v>
                </c:pt>
                <c:pt idx="1992">
                  <c:v>1.982237164879227</c:v>
                </c:pt>
                <c:pt idx="1993">
                  <c:v>2.0003314059993396</c:v>
                </c:pt>
                <c:pt idx="1994">
                  <c:v>2.0805736105397279</c:v>
                </c:pt>
                <c:pt idx="1995">
                  <c:v>2.0774446309221699</c:v>
                </c:pt>
                <c:pt idx="1996">
                  <c:v>2.0067847301038682</c:v>
                </c:pt>
                <c:pt idx="1997">
                  <c:v>2.0016233556181953</c:v>
                </c:pt>
                <c:pt idx="1998">
                  <c:v>1.980933530851682</c:v>
                </c:pt>
                <c:pt idx="1999">
                  <c:v>1.895938172040192</c:v>
                </c:pt>
                <c:pt idx="2000">
                  <c:v>1.8963611016753064</c:v>
                </c:pt>
                <c:pt idx="2001">
                  <c:v>1.9024425211578626</c:v>
                </c:pt>
                <c:pt idx="2002">
                  <c:v>1.9006961771973778</c:v>
                </c:pt>
                <c:pt idx="2003">
                  <c:v>1.8996331384259588</c:v>
                </c:pt>
                <c:pt idx="2004">
                  <c:v>1.9726816707864117</c:v>
                </c:pt>
                <c:pt idx="2005">
                  <c:v>1.9978314452221857</c:v>
                </c:pt>
                <c:pt idx="2006">
                  <c:v>1.9769797042031547</c:v>
                </c:pt>
                <c:pt idx="2007">
                  <c:v>1.9626787594982664</c:v>
                </c:pt>
                <c:pt idx="2008">
                  <c:v>2.0028084205180465</c:v>
                </c:pt>
                <c:pt idx="2009">
                  <c:v>2.0179290417541584</c:v>
                </c:pt>
                <c:pt idx="2010">
                  <c:v>1.9956674836340238</c:v>
                </c:pt>
                <c:pt idx="2011">
                  <c:v>1.9957878128737498</c:v>
                </c:pt>
                <c:pt idx="2012">
                  <c:v>2.0519096101806853</c:v>
                </c:pt>
                <c:pt idx="2013">
                  <c:v>2.0491222197268653</c:v>
                </c:pt>
                <c:pt idx="2014">
                  <c:v>2.055516087381692</c:v>
                </c:pt>
                <c:pt idx="2015">
                  <c:v>1.9512408213369543</c:v>
                </c:pt>
                <c:pt idx="2016">
                  <c:v>1.8735332187508926</c:v>
                </c:pt>
                <c:pt idx="2017">
                  <c:v>1.9618704083584488</c:v>
                </c:pt>
                <c:pt idx="2018">
                  <c:v>1.9951213413985989</c:v>
                </c:pt>
                <c:pt idx="2019">
                  <c:v>1.8706454833976158</c:v>
                </c:pt>
                <c:pt idx="2020">
                  <c:v>1.811381640702991</c:v>
                </c:pt>
                <c:pt idx="2021">
                  <c:v>1.8427461839934944</c:v>
                </c:pt>
                <c:pt idx="2022">
                  <c:v>1.8805863236448774</c:v>
                </c:pt>
                <c:pt idx="2023">
                  <c:v>1.876782797665056</c:v>
                </c:pt>
                <c:pt idx="2024">
                  <c:v>1.8776572254320927</c:v>
                </c:pt>
                <c:pt idx="2025">
                  <c:v>1.9425216419974773</c:v>
                </c:pt>
                <c:pt idx="2026">
                  <c:v>1.9474667081293966</c:v>
                </c:pt>
                <c:pt idx="2027">
                  <c:v>1.8841556112078777</c:v>
                </c:pt>
                <c:pt idx="2028">
                  <c:v>1.8675915416972662</c:v>
                </c:pt>
                <c:pt idx="2029">
                  <c:v>1.9066238724645146</c:v>
                </c:pt>
                <c:pt idx="2030">
                  <c:v>1.9136210370771478</c:v>
                </c:pt>
                <c:pt idx="2031">
                  <c:v>1.9977184668667056</c:v>
                </c:pt>
                <c:pt idx="2032">
                  <c:v>1.9974654786899295</c:v>
                </c:pt>
                <c:pt idx="2033">
                  <c:v>1.973852059811724</c:v>
                </c:pt>
                <c:pt idx="2034">
                  <c:v>1.8582404234286716</c:v>
                </c:pt>
                <c:pt idx="2035">
                  <c:v>1.8685605613126017</c:v>
                </c:pt>
                <c:pt idx="2036">
                  <c:v>1.8654940406173879</c:v>
                </c:pt>
                <c:pt idx="2037">
                  <c:v>1.9519802855671233</c:v>
                </c:pt>
                <c:pt idx="2038">
                  <c:v>2.0347535245272672</c:v>
                </c:pt>
                <c:pt idx="2039">
                  <c:v>2.0663650545837675</c:v>
                </c:pt>
                <c:pt idx="2040">
                  <c:v>2.081409157958765</c:v>
                </c:pt>
                <c:pt idx="2041">
                  <c:v>2.1134790224692082</c:v>
                </c:pt>
                <c:pt idx="2042">
                  <c:v>2.0405726951275058</c:v>
                </c:pt>
                <c:pt idx="2043">
                  <c:v>2.0598551708272805</c:v>
                </c:pt>
                <c:pt idx="2044">
                  <c:v>2.0690253656522324</c:v>
                </c:pt>
                <c:pt idx="2045">
                  <c:v>2.1038059392532014</c:v>
                </c:pt>
                <c:pt idx="2046">
                  <c:v>2.1688784700397217</c:v>
                </c:pt>
                <c:pt idx="2047">
                  <c:v>2.1314264299734309</c:v>
                </c:pt>
                <c:pt idx="2048">
                  <c:v>2.1385198660828126</c:v>
                </c:pt>
                <c:pt idx="2049">
                  <c:v>2.226187994230481</c:v>
                </c:pt>
                <c:pt idx="2050">
                  <c:v>2.2489849520026954</c:v>
                </c:pt>
                <c:pt idx="2051">
                  <c:v>2.2382652838646577</c:v>
                </c:pt>
                <c:pt idx="2052">
                  <c:v>2.2768176357790431</c:v>
                </c:pt>
                <c:pt idx="2053">
                  <c:v>2.3024914950200133</c:v>
                </c:pt>
                <c:pt idx="2054">
                  <c:v>2.3019422992349989</c:v>
                </c:pt>
                <c:pt idx="2055">
                  <c:v>2.3360831955422148</c:v>
                </c:pt>
                <c:pt idx="2056">
                  <c:v>2.3541644471306857</c:v>
                </c:pt>
                <c:pt idx="2057">
                  <c:v>2.3383391052336435</c:v>
                </c:pt>
                <c:pt idx="2058">
                  <c:v>2.3632473757564316</c:v>
                </c:pt>
                <c:pt idx="2059">
                  <c:v>2.2417969695118658</c:v>
                </c:pt>
                <c:pt idx="2060">
                  <c:v>2.275987296168148</c:v>
                </c:pt>
                <c:pt idx="2061">
                  <c:v>2.2308479185371834</c:v>
                </c:pt>
                <c:pt idx="2062">
                  <c:v>2.2562978998319734</c:v>
                </c:pt>
                <c:pt idx="2063">
                  <c:v>2.2929221057493656</c:v>
                </c:pt>
                <c:pt idx="2064">
                  <c:v>2.295493000702125</c:v>
                </c:pt>
                <c:pt idx="2065">
                  <c:v>2.3385672412209555</c:v>
                </c:pt>
                <c:pt idx="2066">
                  <c:v>2.3134825235799497</c:v>
                </c:pt>
                <c:pt idx="2067">
                  <c:v>2.1943236181909938</c:v>
                </c:pt>
                <c:pt idx="2068">
                  <c:v>2.1498074079617151</c:v>
                </c:pt>
                <c:pt idx="2069">
                  <c:v>2.1646539233259663</c:v>
                </c:pt>
                <c:pt idx="2070">
                  <c:v>2.2207412816513319</c:v>
                </c:pt>
                <c:pt idx="2071">
                  <c:v>2.1791178866551366</c:v>
                </c:pt>
                <c:pt idx="2072">
                  <c:v>2.3096874306620427</c:v>
                </c:pt>
                <c:pt idx="2073">
                  <c:v>2.3137703430422789</c:v>
                </c:pt>
                <c:pt idx="2074">
                  <c:v>2.2965323002432627</c:v>
                </c:pt>
                <c:pt idx="2075">
                  <c:v>2.1899403851411399</c:v>
                </c:pt>
                <c:pt idx="2076">
                  <c:v>2.0807252792837145</c:v>
                </c:pt>
                <c:pt idx="2077">
                  <c:v>2.0631748387189628</c:v>
                </c:pt>
                <c:pt idx="2078">
                  <c:v>1.9875172339858849</c:v>
                </c:pt>
                <c:pt idx="2079">
                  <c:v>1.9934914520682014</c:v>
                </c:pt>
                <c:pt idx="2080">
                  <c:v>2.0103858765572293</c:v>
                </c:pt>
                <c:pt idx="2081">
                  <c:v>2.0188416178848509</c:v>
                </c:pt>
                <c:pt idx="2082">
                  <c:v>1.998853665969931</c:v>
                </c:pt>
                <c:pt idx="2083">
                  <c:v>2.06479112780056</c:v>
                </c:pt>
                <c:pt idx="2084">
                  <c:v>2.1407245559376427</c:v>
                </c:pt>
                <c:pt idx="2085">
                  <c:v>2.0944782585296986</c:v>
                </c:pt>
                <c:pt idx="2086">
                  <c:v>2.1665628286200542</c:v>
                </c:pt>
                <c:pt idx="2087">
                  <c:v>2.1736602098957372</c:v>
                </c:pt>
                <c:pt idx="2088">
                  <c:v>2.1462811223200382</c:v>
                </c:pt>
                <c:pt idx="2089">
                  <c:v>2.1636468129319266</c:v>
                </c:pt>
                <c:pt idx="2090">
                  <c:v>2.1598079104254522</c:v>
                </c:pt>
                <c:pt idx="2091">
                  <c:v>2.2259443290814476</c:v>
                </c:pt>
                <c:pt idx="2092">
                  <c:v>2.1754163306471357</c:v>
                </c:pt>
                <c:pt idx="2093">
                  <c:v>2.1569150891086086</c:v>
                </c:pt>
                <c:pt idx="2094">
                  <c:v>2.1541213996580395</c:v>
                </c:pt>
                <c:pt idx="2095">
                  <c:v>2.0938726896149591</c:v>
                </c:pt>
                <c:pt idx="2096">
                  <c:v>2.0810287662002245</c:v>
                </c:pt>
                <c:pt idx="2097">
                  <c:v>2.1083499581259075</c:v>
                </c:pt>
                <c:pt idx="2098">
                  <c:v>2.1104395212672551</c:v>
                </c:pt>
                <c:pt idx="2099">
                  <c:v>2.2201465338371111</c:v>
                </c:pt>
                <c:pt idx="2100">
                  <c:v>2.1631370216619801</c:v>
                </c:pt>
                <c:pt idx="2101">
                  <c:v>2.1463031635529632</c:v>
                </c:pt>
                <c:pt idx="2102">
                  <c:v>2.0330755099745068</c:v>
                </c:pt>
                <c:pt idx="2103">
                  <c:v>2.0596637774241362</c:v>
                </c:pt>
                <c:pt idx="2104">
                  <c:v>2.0624545154473499</c:v>
                </c:pt>
                <c:pt idx="2105">
                  <c:v>2.0147333260820428</c:v>
                </c:pt>
                <c:pt idx="2106">
                  <c:v>2.0472263080052602</c:v>
                </c:pt>
                <c:pt idx="2107">
                  <c:v>2.0568328598863168</c:v>
                </c:pt>
                <c:pt idx="2108">
                  <c:v>2.0656960614973836</c:v>
                </c:pt>
                <c:pt idx="2109">
                  <c:v>1.9749568224294736</c:v>
                </c:pt>
                <c:pt idx="2110">
                  <c:v>1.9590608094820365</c:v>
                </c:pt>
                <c:pt idx="2111">
                  <c:v>1.8526435224507225</c:v>
                </c:pt>
                <c:pt idx="2112">
                  <c:v>1.8635452739163032</c:v>
                </c:pt>
                <c:pt idx="2113">
                  <c:v>1.8252307455845556</c:v>
                </c:pt>
                <c:pt idx="2114">
                  <c:v>1.843273466496576</c:v>
                </c:pt>
                <c:pt idx="2115">
                  <c:v>1.8955373989895292</c:v>
                </c:pt>
                <c:pt idx="2116">
                  <c:v>1.9449636584172685</c:v>
                </c:pt>
                <c:pt idx="2117">
                  <c:v>1.9547630313152902</c:v>
                </c:pt>
                <c:pt idx="2118">
                  <c:v>1.9894961180755677</c:v>
                </c:pt>
                <c:pt idx="2119">
                  <c:v>1.9904206803232576</c:v>
                </c:pt>
                <c:pt idx="2120">
                  <c:v>1.9515803126513687</c:v>
                </c:pt>
                <c:pt idx="2121">
                  <c:v>1.8486579565036887</c:v>
                </c:pt>
                <c:pt idx="2122">
                  <c:v>1.821199272501129</c:v>
                </c:pt>
                <c:pt idx="2123">
                  <c:v>1.8102707725040657</c:v>
                </c:pt>
                <c:pt idx="2124">
                  <c:v>1.8828867883989295</c:v>
                </c:pt>
                <c:pt idx="2125">
                  <c:v>1.8975704544796408</c:v>
                </c:pt>
                <c:pt idx="2126">
                  <c:v>1.9050513065712322</c:v>
                </c:pt>
                <c:pt idx="2127">
                  <c:v>1.9290616881958971</c:v>
                </c:pt>
                <c:pt idx="2128">
                  <c:v>1.9221240942074527</c:v>
                </c:pt>
                <c:pt idx="2129">
                  <c:v>1.8252369909535708</c:v>
                </c:pt>
                <c:pt idx="2130">
                  <c:v>1.8684788120688915</c:v>
                </c:pt>
                <c:pt idx="2131">
                  <c:v>1.8683898396109606</c:v>
                </c:pt>
                <c:pt idx="2132">
                  <c:v>1.8842246814877808</c:v>
                </c:pt>
                <c:pt idx="2133">
                  <c:v>1.8799715824834131</c:v>
                </c:pt>
                <c:pt idx="2134">
                  <c:v>1.8686866352245517</c:v>
                </c:pt>
                <c:pt idx="2135">
                  <c:v>1.8686410869216532</c:v>
                </c:pt>
                <c:pt idx="2136">
                  <c:v>1.8247505167997193</c:v>
                </c:pt>
                <c:pt idx="2137">
                  <c:v>1.9097236350101712</c:v>
                </c:pt>
                <c:pt idx="2138">
                  <c:v>1.8871384517438452</c:v>
                </c:pt>
                <c:pt idx="2139">
                  <c:v>1.889449239541017</c:v>
                </c:pt>
                <c:pt idx="2140">
                  <c:v>1.9152028351786938</c:v>
                </c:pt>
                <c:pt idx="2141">
                  <c:v>1.9859838497403888</c:v>
                </c:pt>
                <c:pt idx="2142">
                  <c:v>1.976608339116728</c:v>
                </c:pt>
                <c:pt idx="2143">
                  <c:v>2.0113665792916611</c:v>
                </c:pt>
                <c:pt idx="2144">
                  <c:v>2.0104354900603298</c:v>
                </c:pt>
                <c:pt idx="2145">
                  <c:v>1.9720618228622648</c:v>
                </c:pt>
                <c:pt idx="2146">
                  <c:v>1.8584808778068556</c:v>
                </c:pt>
                <c:pt idx="2147">
                  <c:v>1.9091879360326514</c:v>
                </c:pt>
                <c:pt idx="2148">
                  <c:v>1.9437114624022271</c:v>
                </c:pt>
                <c:pt idx="2149">
                  <c:v>1.9357151302427589</c:v>
                </c:pt>
                <c:pt idx="2150">
                  <c:v>2.0307600352796831</c:v>
                </c:pt>
                <c:pt idx="2151">
                  <c:v>2.0286468392699835</c:v>
                </c:pt>
                <c:pt idx="2152">
                  <c:v>2.0286468392699835</c:v>
                </c:pt>
                <c:pt idx="2153">
                  <c:v>2.0671725234857092</c:v>
                </c:pt>
                <c:pt idx="2154">
                  <c:v>2.0747857750040621</c:v>
                </c:pt>
                <c:pt idx="2155">
                  <c:v>2.0964040285354568</c:v>
                </c:pt>
                <c:pt idx="2156">
                  <c:v>2.1624835579065134</c:v>
                </c:pt>
                <c:pt idx="2157">
                  <c:v>2.0932308221997693</c:v>
                </c:pt>
                <c:pt idx="2158">
                  <c:v>2.092287855805063</c:v>
                </c:pt>
                <c:pt idx="2159">
                  <c:v>2.0567050171793468</c:v>
                </c:pt>
                <c:pt idx="2160">
                  <c:v>2.0467774660744831</c:v>
                </c:pt>
                <c:pt idx="2161">
                  <c:v>2.0535034022483378</c:v>
                </c:pt>
                <c:pt idx="2162">
                  <c:v>2.066770758891987</c:v>
                </c:pt>
                <c:pt idx="2163">
                  <c:v>2.1035631809922726</c:v>
                </c:pt>
                <c:pt idx="2164">
                  <c:v>2.1735249035419599</c:v>
                </c:pt>
                <c:pt idx="2165">
                  <c:v>2.175810345642994</c:v>
                </c:pt>
                <c:pt idx="2166">
                  <c:v>2.1933430376962768</c:v>
                </c:pt>
                <c:pt idx="2167">
                  <c:v>2.1587415105289689</c:v>
                </c:pt>
                <c:pt idx="2168">
                  <c:v>2.1955624217651808</c:v>
                </c:pt>
                <c:pt idx="2169">
                  <c:v>2.1816562113338138</c:v>
                </c:pt>
                <c:pt idx="2170">
                  <c:v>2.1441754506701143</c:v>
                </c:pt>
                <c:pt idx="2171">
                  <c:v>2.1366627327923808</c:v>
                </c:pt>
                <c:pt idx="2172">
                  <c:v>2.0820083142700589</c:v>
                </c:pt>
                <c:pt idx="2173">
                  <c:v>2.0740885372105229</c:v>
                </c:pt>
                <c:pt idx="2174">
                  <c:v>2.044074537377139</c:v>
                </c:pt>
                <c:pt idx="2175">
                  <c:v>2.065273679661082</c:v>
                </c:pt>
                <c:pt idx="2176">
                  <c:v>2.1300597092490809</c:v>
                </c:pt>
                <c:pt idx="2177">
                  <c:v>2.1396401207002094</c:v>
                </c:pt>
                <c:pt idx="2178">
                  <c:v>2.1143957355456853</c:v>
                </c:pt>
                <c:pt idx="2179">
                  <c:v>2.0921486489759724</c:v>
                </c:pt>
                <c:pt idx="2180">
                  <c:v>2.0293730773121412</c:v>
                </c:pt>
                <c:pt idx="2181">
                  <c:v>2.0340658218098833</c:v>
                </c:pt>
                <c:pt idx="2182">
                  <c:v>2.1243783505017548</c:v>
                </c:pt>
                <c:pt idx="2183">
                  <c:v>2.1890472367431215</c:v>
                </c:pt>
                <c:pt idx="2184">
                  <c:v>2.1778092741421951</c:v>
                </c:pt>
                <c:pt idx="2185">
                  <c:v>2.1806994693764143</c:v>
                </c:pt>
                <c:pt idx="2186">
                  <c:v>2.1766631018495186</c:v>
                </c:pt>
                <c:pt idx="2187">
                  <c:v>2.1764466270058604</c:v>
                </c:pt>
                <c:pt idx="2188">
                  <c:v>2.1767317931972081</c:v>
                </c:pt>
                <c:pt idx="2189">
                  <c:v>2.21620207317476</c:v>
                </c:pt>
                <c:pt idx="2190">
                  <c:v>2.2678643899982318</c:v>
                </c:pt>
                <c:pt idx="2191">
                  <c:v>2.3094030511672421</c:v>
                </c:pt>
                <c:pt idx="2192">
                  <c:v>2.2865377677675416</c:v>
                </c:pt>
                <c:pt idx="2193">
                  <c:v>2.2790995307020685</c:v>
                </c:pt>
                <c:pt idx="2194">
                  <c:v>2.2497488328616329</c:v>
                </c:pt>
                <c:pt idx="2195">
                  <c:v>2.3007485534377921</c:v>
                </c:pt>
                <c:pt idx="2196">
                  <c:v>2.3094820261327231</c:v>
                </c:pt>
                <c:pt idx="2197">
                  <c:v>2.2668824320777063</c:v>
                </c:pt>
                <c:pt idx="2198">
                  <c:v>2.2197811867718809</c:v>
                </c:pt>
                <c:pt idx="2199">
                  <c:v>2.2198517961274358</c:v>
                </c:pt>
                <c:pt idx="2200">
                  <c:v>2.2213020861890258</c:v>
                </c:pt>
                <c:pt idx="2201">
                  <c:v>2.1997504111554016</c:v>
                </c:pt>
                <c:pt idx="2202">
                  <c:v>2.2372067291364286</c:v>
                </c:pt>
                <c:pt idx="2203">
                  <c:v>2.2638614954372565</c:v>
                </c:pt>
                <c:pt idx="2204">
                  <c:v>2.2763228402472366</c:v>
                </c:pt>
                <c:pt idx="2205">
                  <c:v>2.3741098235265934</c:v>
                </c:pt>
                <c:pt idx="2206">
                  <c:v>2.3419097089404364</c:v>
                </c:pt>
                <c:pt idx="2207">
                  <c:v>2.3165820283557568</c:v>
                </c:pt>
                <c:pt idx="2208">
                  <c:v>2.2590040014484005</c:v>
                </c:pt>
                <c:pt idx="2209">
                  <c:v>2.2653485234604327</c:v>
                </c:pt>
                <c:pt idx="2210">
                  <c:v>2.2757639065622985</c:v>
                </c:pt>
                <c:pt idx="2211">
                  <c:v>2.3272498692712351</c:v>
                </c:pt>
                <c:pt idx="2212">
                  <c:v>2.2995779821897191</c:v>
                </c:pt>
                <c:pt idx="2213">
                  <c:v>2.2141876951232686</c:v>
                </c:pt>
                <c:pt idx="2214">
                  <c:v>2.20140986112321</c:v>
                </c:pt>
                <c:pt idx="2215">
                  <c:v>2.1846425467113142</c:v>
                </c:pt>
                <c:pt idx="2216">
                  <c:v>2.1883192070258222</c:v>
                </c:pt>
                <c:pt idx="2217">
                  <c:v>2.1868372260622251</c:v>
                </c:pt>
                <c:pt idx="2218">
                  <c:v>2.3008823234000246</c:v>
                </c:pt>
                <c:pt idx="2219">
                  <c:v>2.2882638025739155</c:v>
                </c:pt>
                <c:pt idx="2220">
                  <c:v>2.1622842029337104</c:v>
                </c:pt>
                <c:pt idx="2221">
                  <c:v>2.1640535059714932</c:v>
                </c:pt>
                <c:pt idx="2222">
                  <c:v>2.1650069857644452</c:v>
                </c:pt>
                <c:pt idx="2223">
                  <c:v>2.1324032300834146</c:v>
                </c:pt>
                <c:pt idx="2224">
                  <c:v>2.8180649181943269</c:v>
                </c:pt>
                <c:pt idx="2225">
                  <c:v>2.8540879106717929</c:v>
                </c:pt>
                <c:pt idx="2226">
                  <c:v>3.0229585395616039</c:v>
                </c:pt>
                <c:pt idx="2227">
                  <c:v>3.2350263166329096</c:v>
                </c:pt>
                <c:pt idx="2228">
                  <c:v>3.2589738294166533</c:v>
                </c:pt>
                <c:pt idx="2229">
                  <c:v>3.2540803973549712</c:v>
                </c:pt>
                <c:pt idx="2230">
                  <c:v>3.3906781614603809</c:v>
                </c:pt>
                <c:pt idx="2231">
                  <c:v>3.528179708662289</c:v>
                </c:pt>
                <c:pt idx="2232">
                  <c:v>3.5004346376168205</c:v>
                </c:pt>
                <c:pt idx="2233">
                  <c:v>3.6415503240008165</c:v>
                </c:pt>
                <c:pt idx="2234">
                  <c:v>4.10181229017563</c:v>
                </c:pt>
                <c:pt idx="2235">
                  <c:v>4.3676237877201798</c:v>
                </c:pt>
                <c:pt idx="2236">
                  <c:v>4.515962842536938</c:v>
                </c:pt>
                <c:pt idx="2237">
                  <c:v>4.5134534547244725</c:v>
                </c:pt>
                <c:pt idx="2238">
                  <c:v>4.589033313265575</c:v>
                </c:pt>
                <c:pt idx="2239">
                  <c:v>4.5813378196053023</c:v>
                </c:pt>
                <c:pt idx="2240">
                  <c:v>4.7822883781367089</c:v>
                </c:pt>
                <c:pt idx="2241">
                  <c:v>5.0559630932610622</c:v>
                </c:pt>
                <c:pt idx="2242">
                  <c:v>5.0116989002551469</c:v>
                </c:pt>
                <c:pt idx="2243">
                  <c:v>5.158400991436082</c:v>
                </c:pt>
                <c:pt idx="2244">
                  <c:v>5.4081228992540389</c:v>
                </c:pt>
                <c:pt idx="2245">
                  <c:v>5.4711194033223984</c:v>
                </c:pt>
                <c:pt idx="2246">
                  <c:v>5.5852428066361988</c:v>
                </c:pt>
                <c:pt idx="2247">
                  <c:v>5.9256891230933686</c:v>
                </c:pt>
                <c:pt idx="2248">
                  <c:v>6.2345804470254622</c:v>
                </c:pt>
                <c:pt idx="2249">
                  <c:v>6.2559681317984417</c:v>
                </c:pt>
                <c:pt idx="2250">
                  <c:v>6.4345592521220905</c:v>
                </c:pt>
                <c:pt idx="2251">
                  <c:v>6.4355399174185939</c:v>
                </c:pt>
                <c:pt idx="2252">
                  <c:v>6.5177650999385222</c:v>
                </c:pt>
                <c:pt idx="2253">
                  <c:v>6.7017176793497866</c:v>
                </c:pt>
                <c:pt idx="2254">
                  <c:v>6.5931845313666742</c:v>
                </c:pt>
                <c:pt idx="2255">
                  <c:v>6.4540925856992617</c:v>
                </c:pt>
                <c:pt idx="2256">
                  <c:v>6.7194836434856899</c:v>
                </c:pt>
                <c:pt idx="2257">
                  <c:v>6.7363346292122834</c:v>
                </c:pt>
                <c:pt idx="2258">
                  <c:v>6.9193715516169885</c:v>
                </c:pt>
                <c:pt idx="2259">
                  <c:v>6.9168669874315256</c:v>
                </c:pt>
                <c:pt idx="2260">
                  <c:v>6.8255813278848168</c:v>
                </c:pt>
                <c:pt idx="2261">
                  <c:v>6.693763191190147</c:v>
                </c:pt>
                <c:pt idx="2262">
                  <c:v>6.7579899409644915</c:v>
                </c:pt>
                <c:pt idx="2263">
                  <c:v>6.798785535188693</c:v>
                </c:pt>
                <c:pt idx="2264">
                  <c:v>6.7138011913357687</c:v>
                </c:pt>
                <c:pt idx="2265">
                  <c:v>6.8201463139933143</c:v>
                </c:pt>
                <c:pt idx="2266">
                  <c:v>6.6403047515104632</c:v>
                </c:pt>
                <c:pt idx="2267">
                  <c:v>6.6887034663667082</c:v>
                </c:pt>
                <c:pt idx="2268">
                  <c:v>6.5954550243517236</c:v>
                </c:pt>
                <c:pt idx="2269">
                  <c:v>6.6094682380978726</c:v>
                </c:pt>
                <c:pt idx="2270">
                  <c:v>6.6013749931459706</c:v>
                </c:pt>
                <c:pt idx="2271">
                  <c:v>6.5603927992926385</c:v>
                </c:pt>
                <c:pt idx="2272">
                  <c:v>6.5980000769683205</c:v>
                </c:pt>
                <c:pt idx="2273">
                  <c:v>6.6010776313657145</c:v>
                </c:pt>
                <c:pt idx="2274">
                  <c:v>6.1562195414444263</c:v>
                </c:pt>
                <c:pt idx="2275">
                  <c:v>6.1620982413007823</c:v>
                </c:pt>
                <c:pt idx="2276">
                  <c:v>13.804215416183176</c:v>
                </c:pt>
                <c:pt idx="2277">
                  <c:v>18.410737994095275</c:v>
                </c:pt>
                <c:pt idx="2278">
                  <c:v>21.86385487717672</c:v>
                </c:pt>
                <c:pt idx="2279">
                  <c:v>24.617191698114919</c:v>
                </c:pt>
                <c:pt idx="2280">
                  <c:v>26.932859740274562</c:v>
                </c:pt>
                <c:pt idx="2281">
                  <c:v>28.732852096314367</c:v>
                </c:pt>
                <c:pt idx="2282">
                  <c:v>30.379354856249055</c:v>
                </c:pt>
                <c:pt idx="2283">
                  <c:v>31.818909775222433</c:v>
                </c:pt>
                <c:pt idx="2284">
                  <c:v>32.840490505805725</c:v>
                </c:pt>
                <c:pt idx="2285">
                  <c:v>33.634492088349234</c:v>
                </c:pt>
                <c:pt idx="2286">
                  <c:v>33.915092344607167</c:v>
                </c:pt>
                <c:pt idx="2287">
                  <c:v>33.977544319761115</c:v>
                </c:pt>
                <c:pt idx="2288">
                  <c:v>33.853991355414891</c:v>
                </c:pt>
                <c:pt idx="2289">
                  <c:v>33.775707470355343</c:v>
                </c:pt>
                <c:pt idx="2290">
                  <c:v>33.813832491860396</c:v>
                </c:pt>
                <c:pt idx="2291">
                  <c:v>33.725361861333319</c:v>
                </c:pt>
                <c:pt idx="2292">
                  <c:v>34.18087142133561</c:v>
                </c:pt>
                <c:pt idx="2293">
                  <c:v>34.592669071510272</c:v>
                </c:pt>
                <c:pt idx="2294">
                  <c:v>34.88653313754989</c:v>
                </c:pt>
                <c:pt idx="2295">
                  <c:v>35.366721378949286</c:v>
                </c:pt>
                <c:pt idx="2296">
                  <c:v>35.846069104944156</c:v>
                </c:pt>
                <c:pt idx="2297">
                  <c:v>36.132396212351559</c:v>
                </c:pt>
                <c:pt idx="2298">
                  <c:v>36.708872042006021</c:v>
                </c:pt>
                <c:pt idx="2299">
                  <c:v>37.000003830561624</c:v>
                </c:pt>
                <c:pt idx="2300">
                  <c:v>37.225328498076195</c:v>
                </c:pt>
                <c:pt idx="2301">
                  <c:v>37.565696209180523</c:v>
                </c:pt>
                <c:pt idx="2302">
                  <c:v>37.884744172032306</c:v>
                </c:pt>
                <c:pt idx="2303">
                  <c:v>38.258184088607315</c:v>
                </c:pt>
                <c:pt idx="2304">
                  <c:v>38.737927606451912</c:v>
                </c:pt>
                <c:pt idx="2305">
                  <c:v>39.145379968391708</c:v>
                </c:pt>
                <c:pt idx="2306">
                  <c:v>39.14246257168228</c:v>
                </c:pt>
                <c:pt idx="2307">
                  <c:v>38.988232976499567</c:v>
                </c:pt>
                <c:pt idx="2308">
                  <c:v>38.737139382149927</c:v>
                </c:pt>
                <c:pt idx="2309">
                  <c:v>38.25119479566991</c:v>
                </c:pt>
                <c:pt idx="2310">
                  <c:v>37.584304699204125</c:v>
                </c:pt>
                <c:pt idx="2311">
                  <c:v>36.766108299400315</c:v>
                </c:pt>
                <c:pt idx="2312">
                  <c:v>35.689118693552054</c:v>
                </c:pt>
                <c:pt idx="2313">
                  <c:v>34.423860144388641</c:v>
                </c:pt>
                <c:pt idx="2314">
                  <c:v>32.937789088420111</c:v>
                </c:pt>
                <c:pt idx="2315">
                  <c:v>31.183718096823657</c:v>
                </c:pt>
                <c:pt idx="2316">
                  <c:v>29.017499749737865</c:v>
                </c:pt>
                <c:pt idx="2317">
                  <c:v>26.447222806683826</c:v>
                </c:pt>
                <c:pt idx="2318">
                  <c:v>23.326793820944431</c:v>
                </c:pt>
                <c:pt idx="2319">
                  <c:v>19.418407592643312</c:v>
                </c:pt>
                <c:pt idx="2320">
                  <c:v>14.055336214728294</c:v>
                </c:pt>
                <c:pt idx="2321">
                  <c:v>2.0259683917536599</c:v>
                </c:pt>
                <c:pt idx="2322">
                  <c:v>2.0097345503467392</c:v>
                </c:pt>
                <c:pt idx="2323">
                  <c:v>2.0194761775118684</c:v>
                </c:pt>
                <c:pt idx="2324">
                  <c:v>2.0481103390351172</c:v>
                </c:pt>
                <c:pt idx="2325">
                  <c:v>2.069453224554215</c:v>
                </c:pt>
                <c:pt idx="2326">
                  <c:v>2.0649891303086703</c:v>
                </c:pt>
                <c:pt idx="2327">
                  <c:v>2.0588857530991413</c:v>
                </c:pt>
                <c:pt idx="2328">
                  <c:v>2.0134485619498066</c:v>
                </c:pt>
                <c:pt idx="2329">
                  <c:v>2.0117561766801071</c:v>
                </c:pt>
                <c:pt idx="2330">
                  <c:v>2.0789567061475585</c:v>
                </c:pt>
                <c:pt idx="2331">
                  <c:v>2.1251863948560281</c:v>
                </c:pt>
                <c:pt idx="2332">
                  <c:v>2.1593447246730668</c:v>
                </c:pt>
                <c:pt idx="2333">
                  <c:v>2.1338420833481608</c:v>
                </c:pt>
                <c:pt idx="2334">
                  <c:v>2.0628413716415293</c:v>
                </c:pt>
                <c:pt idx="2335">
                  <c:v>1.9674740933415074</c:v>
                </c:pt>
                <c:pt idx="2336">
                  <c:v>1.9461120579531812</c:v>
                </c:pt>
                <c:pt idx="2337">
                  <c:v>2.0360707544268686</c:v>
                </c:pt>
                <c:pt idx="2338">
                  <c:v>2.0611143266453253</c:v>
                </c:pt>
                <c:pt idx="2339">
                  <c:v>2.1356317472840676</c:v>
                </c:pt>
                <c:pt idx="2340">
                  <c:v>2.2111027557757743</c:v>
                </c:pt>
                <c:pt idx="2341">
                  <c:v>2.2903454216908434</c:v>
                </c:pt>
                <c:pt idx="2342">
                  <c:v>2.2516185031922142</c:v>
                </c:pt>
                <c:pt idx="2343">
                  <c:v>2.3202673430802498</c:v>
                </c:pt>
                <c:pt idx="2344">
                  <c:v>2.3389889254766514</c:v>
                </c:pt>
                <c:pt idx="2345">
                  <c:v>2.3742970741613685</c:v>
                </c:pt>
                <c:pt idx="2346">
                  <c:v>2.3246782167920022</c:v>
                </c:pt>
                <c:pt idx="2347">
                  <c:v>2.3192583399977038</c:v>
                </c:pt>
                <c:pt idx="2348">
                  <c:v>2.2283819130510873</c:v>
                </c:pt>
                <c:pt idx="2349">
                  <c:v>2.3026691406851865</c:v>
                </c:pt>
                <c:pt idx="2350">
                  <c:v>2.2911429447244114</c:v>
                </c:pt>
                <c:pt idx="2351">
                  <c:v>2.285197637331243</c:v>
                </c:pt>
                <c:pt idx="2352">
                  <c:v>2.3035226883861086</c:v>
                </c:pt>
                <c:pt idx="2353">
                  <c:v>2.3099360797855373</c:v>
                </c:pt>
                <c:pt idx="2354">
                  <c:v>2.3006606078363432</c:v>
                </c:pt>
                <c:pt idx="2355">
                  <c:v>2.2830660556825877</c:v>
                </c:pt>
                <c:pt idx="2356">
                  <c:v>2.2808774241246388</c:v>
                </c:pt>
                <c:pt idx="2357">
                  <c:v>2.2561564339113258</c:v>
                </c:pt>
                <c:pt idx="2358">
                  <c:v>2.2326642355438797</c:v>
                </c:pt>
                <c:pt idx="2359">
                  <c:v>2.3087941951392494</c:v>
                </c:pt>
                <c:pt idx="2360">
                  <c:v>2.2363085006498644</c:v>
                </c:pt>
                <c:pt idx="2361">
                  <c:v>2.1697856995452738</c:v>
                </c:pt>
                <c:pt idx="2362">
                  <c:v>2.1522231751845045</c:v>
                </c:pt>
                <c:pt idx="2363">
                  <c:v>2.1887753932388914</c:v>
                </c:pt>
                <c:pt idx="2364">
                  <c:v>2.1787529844622409</c:v>
                </c:pt>
                <c:pt idx="2365">
                  <c:v>2.1822922682421884</c:v>
                </c:pt>
                <c:pt idx="2366">
                  <c:v>2.2267511811261098</c:v>
                </c:pt>
                <c:pt idx="2367">
                  <c:v>2.1485560176447662</c:v>
                </c:pt>
                <c:pt idx="2368">
                  <c:v>2.1602166454230729</c:v>
                </c:pt>
                <c:pt idx="2369">
                  <c:v>2.0664729008225002</c:v>
                </c:pt>
                <c:pt idx="2370">
                  <c:v>2.1055991164994912</c:v>
                </c:pt>
                <c:pt idx="2371">
                  <c:v>2.1117804348276077</c:v>
                </c:pt>
                <c:pt idx="2372">
                  <c:v>2.1530408001232453</c:v>
                </c:pt>
                <c:pt idx="2373">
                  <c:v>2.1307671644348929</c:v>
                </c:pt>
                <c:pt idx="2374">
                  <c:v>2.1350349143947116</c:v>
                </c:pt>
                <c:pt idx="2375">
                  <c:v>2.0939264040777394</c:v>
                </c:pt>
                <c:pt idx="2376">
                  <c:v>2.1344136145798744</c:v>
                </c:pt>
                <c:pt idx="2377">
                  <c:v>2.1727488270770605</c:v>
                </c:pt>
                <c:pt idx="2378">
                  <c:v>2.1816872130667098</c:v>
                </c:pt>
                <c:pt idx="2379">
                  <c:v>2.17202443129481</c:v>
                </c:pt>
                <c:pt idx="2380">
                  <c:v>2.2470828222878967</c:v>
                </c:pt>
                <c:pt idx="2381">
                  <c:v>2.2775133722186052</c:v>
                </c:pt>
                <c:pt idx="2382">
                  <c:v>2.2432267196390305</c:v>
                </c:pt>
                <c:pt idx="2383">
                  <c:v>2.2321135205226574</c:v>
                </c:pt>
                <c:pt idx="2384">
                  <c:v>2.2271395264373175</c:v>
                </c:pt>
                <c:pt idx="2385">
                  <c:v>2.1969714120989243</c:v>
                </c:pt>
                <c:pt idx="2386">
                  <c:v>2.1734451842275733</c:v>
                </c:pt>
                <c:pt idx="2387">
                  <c:v>2.2338310880443846</c:v>
                </c:pt>
                <c:pt idx="2388">
                  <c:v>2.2308939065550724</c:v>
                </c:pt>
                <c:pt idx="2389">
                  <c:v>2.1167059765417533</c:v>
                </c:pt>
                <c:pt idx="2390">
                  <c:v>2.1523633514302882</c:v>
                </c:pt>
                <c:pt idx="2391">
                  <c:v>2.1373884467009772</c:v>
                </c:pt>
                <c:pt idx="2392">
                  <c:v>2.1537716690480093</c:v>
                </c:pt>
                <c:pt idx="2393">
                  <c:v>2.1282982997015694</c:v>
                </c:pt>
                <c:pt idx="2394">
                  <c:v>2.1251519763042945</c:v>
                </c:pt>
                <c:pt idx="2395">
                  <c:v>2.1204909357699311</c:v>
                </c:pt>
                <c:pt idx="2396">
                  <c:v>2.0777332351866593</c:v>
                </c:pt>
                <c:pt idx="2397">
                  <c:v>2.1877280635364169</c:v>
                </c:pt>
                <c:pt idx="2398">
                  <c:v>2.1599105632209237</c:v>
                </c:pt>
                <c:pt idx="2399">
                  <c:v>2.1408661062757921</c:v>
                </c:pt>
                <c:pt idx="2400">
                  <c:v>2.0787919305613802</c:v>
                </c:pt>
                <c:pt idx="2401">
                  <c:v>2.0976771114253623</c:v>
                </c:pt>
                <c:pt idx="2402">
                  <c:v>2.0588363843511845</c:v>
                </c:pt>
                <c:pt idx="2403">
                  <c:v>2.0781227325122207</c:v>
                </c:pt>
                <c:pt idx="2404">
                  <c:v>2.0283433827887465</c:v>
                </c:pt>
                <c:pt idx="2405">
                  <c:v>2.0053527685716004</c:v>
                </c:pt>
                <c:pt idx="2406">
                  <c:v>1.9649765154764789</c:v>
                </c:pt>
                <c:pt idx="2407">
                  <c:v>1.8938844046353571</c:v>
                </c:pt>
                <c:pt idx="2408">
                  <c:v>1.91704825192012</c:v>
                </c:pt>
                <c:pt idx="2409">
                  <c:v>1.8441943800914116</c:v>
                </c:pt>
                <c:pt idx="2410">
                  <c:v>1.7744244481414408</c:v>
                </c:pt>
                <c:pt idx="2411">
                  <c:v>1.7093358947561843</c:v>
                </c:pt>
                <c:pt idx="2412">
                  <c:v>1.7504482727304138</c:v>
                </c:pt>
                <c:pt idx="2413">
                  <c:v>1.7704218323396297</c:v>
                </c:pt>
                <c:pt idx="2414">
                  <c:v>1.6884168327634392</c:v>
                </c:pt>
                <c:pt idx="2415">
                  <c:v>1.6943988213585428</c:v>
                </c:pt>
                <c:pt idx="2416">
                  <c:v>1.6962376014491489</c:v>
                </c:pt>
                <c:pt idx="2417">
                  <c:v>1.6270352943774158</c:v>
                </c:pt>
                <c:pt idx="2418">
                  <c:v>1.6477496593441943</c:v>
                </c:pt>
                <c:pt idx="2419">
                  <c:v>1.5657744610166304</c:v>
                </c:pt>
                <c:pt idx="2420">
                  <c:v>1.5536656905492674</c:v>
                </c:pt>
                <c:pt idx="2421">
                  <c:v>1.5761074685887018</c:v>
                </c:pt>
                <c:pt idx="2422">
                  <c:v>1.5601556603206332</c:v>
                </c:pt>
                <c:pt idx="2423">
                  <c:v>1.5479340856458721</c:v>
                </c:pt>
                <c:pt idx="2424">
                  <c:v>1.5657158190862328</c:v>
                </c:pt>
                <c:pt idx="2425">
                  <c:v>1.5691458581141864</c:v>
                </c:pt>
                <c:pt idx="2426">
                  <c:v>1.5963987868546208</c:v>
                </c:pt>
                <c:pt idx="2427">
                  <c:v>1.5179745262778566</c:v>
                </c:pt>
                <c:pt idx="2428">
                  <c:v>1.5428944928211921</c:v>
                </c:pt>
                <c:pt idx="2429">
                  <c:v>1.5753483303572955</c:v>
                </c:pt>
                <c:pt idx="2430">
                  <c:v>1.5690940026925095</c:v>
                </c:pt>
                <c:pt idx="2431">
                  <c:v>1.4505740746851299</c:v>
                </c:pt>
                <c:pt idx="2432">
                  <c:v>1.4851938815524623</c:v>
                </c:pt>
                <c:pt idx="2433">
                  <c:v>1.3743727265463883</c:v>
                </c:pt>
                <c:pt idx="2434">
                  <c:v>1.4113961353195745</c:v>
                </c:pt>
                <c:pt idx="2435">
                  <c:v>1.4482920388682989</c:v>
                </c:pt>
                <c:pt idx="2436">
                  <c:v>1.4928601750290116</c:v>
                </c:pt>
                <c:pt idx="2437">
                  <c:v>1.4830683516066234</c:v>
                </c:pt>
                <c:pt idx="2438">
                  <c:v>1.4129919467700967</c:v>
                </c:pt>
                <c:pt idx="2439">
                  <c:v>1.447789003242937</c:v>
                </c:pt>
                <c:pt idx="2440">
                  <c:v>1.388004493447049</c:v>
                </c:pt>
                <c:pt idx="2441">
                  <c:v>1.4491731020445606</c:v>
                </c:pt>
                <c:pt idx="2442">
                  <c:v>1.3845297449226237</c:v>
                </c:pt>
                <c:pt idx="2443">
                  <c:v>1.239947272198648</c:v>
                </c:pt>
                <c:pt idx="2444">
                  <c:v>1.3147604501666101</c:v>
                </c:pt>
                <c:pt idx="2445">
                  <c:v>1.3891806593702467</c:v>
                </c:pt>
                <c:pt idx="2446">
                  <c:v>1.4974621059500599</c:v>
                </c:pt>
                <c:pt idx="2447">
                  <c:v>1.6321325771245687</c:v>
                </c:pt>
                <c:pt idx="2448">
                  <c:v>1.4966298227839341</c:v>
                </c:pt>
                <c:pt idx="2449">
                  <c:v>1.6961713490031158</c:v>
                </c:pt>
                <c:pt idx="2450">
                  <c:v>2.0003580946638095</c:v>
                </c:pt>
                <c:pt idx="2451">
                  <c:v>1.1699403106904707</c:v>
                </c:pt>
              </c:numCache>
            </c:numRef>
          </c:val>
          <c:smooth val="0"/>
          <c:extLst>
            <c:ext xmlns:c16="http://schemas.microsoft.com/office/drawing/2014/chart" uri="{C3380CC4-5D6E-409C-BE32-E72D297353CC}">
              <c16:uniqueId val="{00000000-C63F-4F2D-AF7D-1A69B6104F41}"/>
            </c:ext>
          </c:extLst>
        </c:ser>
        <c:dLbls>
          <c:showLegendKey val="0"/>
          <c:showVal val="0"/>
          <c:showCatName val="0"/>
          <c:showSerName val="0"/>
          <c:showPercent val="0"/>
          <c:showBubbleSize val="0"/>
        </c:dLbls>
        <c:marker val="1"/>
        <c:smooth val="0"/>
        <c:axId val="478288888"/>
        <c:axId val="478289872"/>
      </c:lineChart>
      <c:lineChart>
        <c:grouping val="standard"/>
        <c:varyColors val="0"/>
        <c:ser>
          <c:idx val="0"/>
          <c:order val="0"/>
          <c:tx>
            <c:strRef>
              <c:f>'Data Preparation'!$H$1</c:f>
              <c:strCache>
                <c:ptCount val="1"/>
                <c:pt idx="0">
                  <c:v>Horse Power</c:v>
                </c:pt>
              </c:strCache>
            </c:strRef>
          </c:tx>
          <c:spPr>
            <a:ln w="28575" cap="rnd">
              <a:solidFill>
                <a:schemeClr val="accent1"/>
              </a:solidFill>
              <a:round/>
            </a:ln>
            <a:effectLst/>
          </c:spPr>
          <c:marker>
            <c:symbol val="none"/>
          </c:marker>
          <c:val>
            <c:numRef>
              <c:f>'Data Preparation'!$H$2:$H$2455</c:f>
              <c:numCache>
                <c:formatCode>#,##0.00</c:formatCode>
                <c:ptCount val="2454"/>
                <c:pt idx="0" formatCode="0.00">
                  <c:v>0.32111470018277427</c:v>
                </c:pt>
                <c:pt idx="1">
                  <c:v>0.31317598328736385</c:v>
                </c:pt>
                <c:pt idx="2">
                  <c:v>0.30838649423217551</c:v>
                </c:pt>
                <c:pt idx="3">
                  <c:v>0.30522451410912788</c:v>
                </c:pt>
                <c:pt idx="4">
                  <c:v>0.29524072693228132</c:v>
                </c:pt>
                <c:pt idx="5">
                  <c:v>0.30804281470656592</c:v>
                </c:pt>
                <c:pt idx="6">
                  <c:v>0.29731095813154068</c:v>
                </c:pt>
                <c:pt idx="7">
                  <c:v>0.29783805397364843</c:v>
                </c:pt>
                <c:pt idx="8">
                  <c:v>0.30110296244554757</c:v>
                </c:pt>
                <c:pt idx="9">
                  <c:v>0.31693654519347947</c:v>
                </c:pt>
                <c:pt idx="10">
                  <c:v>0.32019439260213728</c:v>
                </c:pt>
                <c:pt idx="11">
                  <c:v>0.3260739108745041</c:v>
                </c:pt>
                <c:pt idx="12">
                  <c:v>0.32914881039222066</c:v>
                </c:pt>
                <c:pt idx="13">
                  <c:v>0.33037536627732206</c:v>
                </c:pt>
                <c:pt idx="14">
                  <c:v>0.33221970630050468</c:v>
                </c:pt>
                <c:pt idx="15">
                  <c:v>0.33347911338808328</c:v>
                </c:pt>
                <c:pt idx="16">
                  <c:v>0.33362500914539717</c:v>
                </c:pt>
                <c:pt idx="17">
                  <c:v>0.33362598038936297</c:v>
                </c:pt>
                <c:pt idx="18">
                  <c:v>0.3356513818056967</c:v>
                </c:pt>
                <c:pt idx="19">
                  <c:v>0.32676275905737984</c:v>
                </c:pt>
                <c:pt idx="20">
                  <c:v>0.33172006251681135</c:v>
                </c:pt>
                <c:pt idx="21">
                  <c:v>0.34255343853660508</c:v>
                </c:pt>
                <c:pt idx="22">
                  <c:v>0.33475603306099166</c:v>
                </c:pt>
                <c:pt idx="23">
                  <c:v>0.33130550979491263</c:v>
                </c:pt>
                <c:pt idx="24">
                  <c:v>0.32976982278153799</c:v>
                </c:pt>
                <c:pt idx="25">
                  <c:v>0.31395286913208403</c:v>
                </c:pt>
                <c:pt idx="26">
                  <c:v>0.30915977650013016</c:v>
                </c:pt>
                <c:pt idx="27">
                  <c:v>0.29723082022249675</c:v>
                </c:pt>
                <c:pt idx="28">
                  <c:v>0.29748252580113954</c:v>
                </c:pt>
                <c:pt idx="29">
                  <c:v>0.27871909853153254</c:v>
                </c:pt>
                <c:pt idx="30">
                  <c:v>0.2712120456813058</c:v>
                </c:pt>
                <c:pt idx="31">
                  <c:v>0.26890178458774228</c:v>
                </c:pt>
                <c:pt idx="32">
                  <c:v>0.27903086934779864</c:v>
                </c:pt>
                <c:pt idx="33">
                  <c:v>0.27568547827481049</c:v>
                </c:pt>
                <c:pt idx="34">
                  <c:v>0.28020538224406683</c:v>
                </c:pt>
                <c:pt idx="35">
                  <c:v>0.27449347200741431</c:v>
                </c:pt>
                <c:pt idx="36">
                  <c:v>0.27479928608624238</c:v>
                </c:pt>
                <c:pt idx="37">
                  <c:v>0.27444363992352516</c:v>
                </c:pt>
                <c:pt idx="38">
                  <c:v>0.27126427266339059</c:v>
                </c:pt>
                <c:pt idx="39">
                  <c:v>0.2566798382560796</c:v>
                </c:pt>
                <c:pt idx="40">
                  <c:v>0.25602638910115799</c:v>
                </c:pt>
                <c:pt idx="41">
                  <c:v>0.24642633130535613</c:v>
                </c:pt>
                <c:pt idx="42">
                  <c:v>0.24346766262703617</c:v>
                </c:pt>
                <c:pt idx="43">
                  <c:v>0.24752132114526462</c:v>
                </c:pt>
                <c:pt idx="44">
                  <c:v>0.23576079596133523</c:v>
                </c:pt>
                <c:pt idx="45">
                  <c:v>0.23449619181989695</c:v>
                </c:pt>
                <c:pt idx="46">
                  <c:v>0.21683840237477411</c:v>
                </c:pt>
                <c:pt idx="47">
                  <c:v>0.21457278713210476</c:v>
                </c:pt>
                <c:pt idx="48">
                  <c:v>0.20630079624329045</c:v>
                </c:pt>
                <c:pt idx="49">
                  <c:v>0.23123254107238575</c:v>
                </c:pt>
                <c:pt idx="50">
                  <c:v>0.2236330498466515</c:v>
                </c:pt>
                <c:pt idx="51">
                  <c:v>0.23262170752369535</c:v>
                </c:pt>
                <c:pt idx="52">
                  <c:v>0.2473281107900179</c:v>
                </c:pt>
                <c:pt idx="53">
                  <c:v>0.25079226853726971</c:v>
                </c:pt>
                <c:pt idx="54">
                  <c:v>0.25307854807682073</c:v>
                </c:pt>
                <c:pt idx="55">
                  <c:v>0.27310101169637557</c:v>
                </c:pt>
                <c:pt idx="56">
                  <c:v>0.27256764433800668</c:v>
                </c:pt>
                <c:pt idx="57">
                  <c:v>0.272600872794314</c:v>
                </c:pt>
                <c:pt idx="58">
                  <c:v>0.27384397912856057</c:v>
                </c:pt>
                <c:pt idx="59">
                  <c:v>0.27288991790989692</c:v>
                </c:pt>
                <c:pt idx="60">
                  <c:v>0.27122208313687568</c:v>
                </c:pt>
                <c:pt idx="61">
                  <c:v>0.26789031503523247</c:v>
                </c:pt>
                <c:pt idx="62">
                  <c:v>0.27141595948665431</c:v>
                </c:pt>
                <c:pt idx="63">
                  <c:v>0.27665763921360614</c:v>
                </c:pt>
                <c:pt idx="64">
                  <c:v>0.28385923743353197</c:v>
                </c:pt>
                <c:pt idx="65">
                  <c:v>0.28313227444506545</c:v>
                </c:pt>
                <c:pt idx="66">
                  <c:v>0.28298310847734393</c:v>
                </c:pt>
                <c:pt idx="67">
                  <c:v>0.28190054942617399</c:v>
                </c:pt>
                <c:pt idx="68">
                  <c:v>0.28314025371739876</c:v>
                </c:pt>
                <c:pt idx="69">
                  <c:v>0.28800186747111062</c:v>
                </c:pt>
                <c:pt idx="70">
                  <c:v>0.27587209629962522</c:v>
                </c:pt>
                <c:pt idx="71">
                  <c:v>0.29095693596967737</c:v>
                </c:pt>
                <c:pt idx="72">
                  <c:v>0.29041116176075066</c:v>
                </c:pt>
                <c:pt idx="73">
                  <c:v>0.275633320943178</c:v>
                </c:pt>
                <c:pt idx="74">
                  <c:v>0.27485196760376779</c:v>
                </c:pt>
                <c:pt idx="75">
                  <c:v>0.27509473036871757</c:v>
                </c:pt>
                <c:pt idx="76">
                  <c:v>0.27675503878263741</c:v>
                </c:pt>
                <c:pt idx="77">
                  <c:v>0.27532038225971711</c:v>
                </c:pt>
                <c:pt idx="78">
                  <c:v>0.25820064760235445</c:v>
                </c:pt>
                <c:pt idx="79">
                  <c:v>0.25900239109463319</c:v>
                </c:pt>
                <c:pt idx="80">
                  <c:v>0.25706085807573581</c:v>
                </c:pt>
                <c:pt idx="81">
                  <c:v>0.25561455435022223</c:v>
                </c:pt>
                <c:pt idx="82">
                  <c:v>0.2493030113846583</c:v>
                </c:pt>
                <c:pt idx="83">
                  <c:v>0.2411938416872044</c:v>
                </c:pt>
                <c:pt idx="84">
                  <c:v>0.24056253555006718</c:v>
                </c:pt>
                <c:pt idx="85">
                  <c:v>0.22928294437755514</c:v>
                </c:pt>
                <c:pt idx="86">
                  <c:v>0.22420765530435435</c:v>
                </c:pt>
                <c:pt idx="87">
                  <c:v>0.22414178504563417</c:v>
                </c:pt>
                <c:pt idx="88">
                  <c:v>0.22420593685621976</c:v>
                </c:pt>
                <c:pt idx="89">
                  <c:v>0.23840359272956532</c:v>
                </c:pt>
                <c:pt idx="90">
                  <c:v>0.23909621584424029</c:v>
                </c:pt>
                <c:pt idx="91">
                  <c:v>0.23694684066975222</c:v>
                </c:pt>
                <c:pt idx="92">
                  <c:v>0.23780480879865606</c:v>
                </c:pt>
                <c:pt idx="93">
                  <c:v>0.25500624298527386</c:v>
                </c:pt>
                <c:pt idx="94">
                  <c:v>0.2508095885015032</c:v>
                </c:pt>
                <c:pt idx="95">
                  <c:v>0.26026677444567853</c:v>
                </c:pt>
                <c:pt idx="96">
                  <c:v>0.26638582475809991</c:v>
                </c:pt>
                <c:pt idx="97">
                  <c:v>0.26023828489946843</c:v>
                </c:pt>
                <c:pt idx="98">
                  <c:v>0.25790947513574564</c:v>
                </c:pt>
                <c:pt idx="99">
                  <c:v>0.254579452942514</c:v>
                </c:pt>
                <c:pt idx="100">
                  <c:v>0.25071990502802138</c:v>
                </c:pt>
                <c:pt idx="101">
                  <c:v>0.23913653097151702</c:v>
                </c:pt>
                <c:pt idx="102">
                  <c:v>0.2497307241115492</c:v>
                </c:pt>
                <c:pt idx="103">
                  <c:v>0.2587811108349794</c:v>
                </c:pt>
                <c:pt idx="104">
                  <c:v>0.26793166840767707</c:v>
                </c:pt>
                <c:pt idx="105">
                  <c:v>0.26862958628350986</c:v>
                </c:pt>
                <c:pt idx="106">
                  <c:v>0.2677163690572727</c:v>
                </c:pt>
                <c:pt idx="107">
                  <c:v>0.26756873980056695</c:v>
                </c:pt>
                <c:pt idx="108">
                  <c:v>0.26762239107898028</c:v>
                </c:pt>
                <c:pt idx="109">
                  <c:v>0.26164813088208566</c:v>
                </c:pt>
                <c:pt idx="110">
                  <c:v>0.26320528959576589</c:v>
                </c:pt>
                <c:pt idx="111">
                  <c:v>0.25410499569692152</c:v>
                </c:pt>
                <c:pt idx="112">
                  <c:v>0.25428613121354254</c:v>
                </c:pt>
                <c:pt idx="113">
                  <c:v>0.25347506166251516</c:v>
                </c:pt>
                <c:pt idx="114">
                  <c:v>0.25172529252553227</c:v>
                </c:pt>
                <c:pt idx="115">
                  <c:v>0.26022253969662362</c:v>
                </c:pt>
                <c:pt idx="116">
                  <c:v>0.26384126347653764</c:v>
                </c:pt>
                <c:pt idx="117">
                  <c:v>0.27907385712930333</c:v>
                </c:pt>
                <c:pt idx="118">
                  <c:v>0.27887470575964074</c:v>
                </c:pt>
                <c:pt idx="119">
                  <c:v>0.25912683074139181</c:v>
                </c:pt>
                <c:pt idx="120">
                  <c:v>0.25262092786882612</c:v>
                </c:pt>
                <c:pt idx="121">
                  <c:v>0.24586630843409099</c:v>
                </c:pt>
                <c:pt idx="122">
                  <c:v>0.24401836595592677</c:v>
                </c:pt>
                <c:pt idx="123">
                  <c:v>0.23618666016144416</c:v>
                </c:pt>
                <c:pt idx="124">
                  <c:v>0.24258924087073935</c:v>
                </c:pt>
                <c:pt idx="125">
                  <c:v>0.23781028776755969</c:v>
                </c:pt>
                <c:pt idx="126">
                  <c:v>0.2395449636312115</c:v>
                </c:pt>
                <c:pt idx="127">
                  <c:v>0.24168858097838034</c:v>
                </c:pt>
                <c:pt idx="128">
                  <c:v>0.27259155407025099</c:v>
                </c:pt>
                <c:pt idx="129">
                  <c:v>0.27594504450314628</c:v>
                </c:pt>
                <c:pt idx="130">
                  <c:v>0.27462680945897117</c:v>
                </c:pt>
                <c:pt idx="131">
                  <c:v>0.28894668574301968</c:v>
                </c:pt>
                <c:pt idx="132">
                  <c:v>0.27704883101464151</c:v>
                </c:pt>
                <c:pt idx="133">
                  <c:v>0.26928801371278471</c:v>
                </c:pt>
                <c:pt idx="134">
                  <c:v>0.25975564904848597</c:v>
                </c:pt>
                <c:pt idx="135">
                  <c:v>0.25872878988177217</c:v>
                </c:pt>
                <c:pt idx="136">
                  <c:v>0.2585244469887234</c:v>
                </c:pt>
                <c:pt idx="137">
                  <c:v>0.25936665249571689</c:v>
                </c:pt>
                <c:pt idx="138">
                  <c:v>0.27641423266548593</c:v>
                </c:pt>
                <c:pt idx="139">
                  <c:v>0.28659200755351766</c:v>
                </c:pt>
                <c:pt idx="140">
                  <c:v>0.28494582223357573</c:v>
                </c:pt>
                <c:pt idx="141">
                  <c:v>0.2925931800608968</c:v>
                </c:pt>
                <c:pt idx="142">
                  <c:v>0.30730689687034052</c:v>
                </c:pt>
                <c:pt idx="143">
                  <c:v>0.31691373256362371</c:v>
                </c:pt>
                <c:pt idx="144">
                  <c:v>0.32040314362991568</c:v>
                </c:pt>
                <c:pt idx="145">
                  <c:v>0.32073434640209209</c:v>
                </c:pt>
                <c:pt idx="146">
                  <c:v>0.3180668027335164</c:v>
                </c:pt>
                <c:pt idx="147">
                  <c:v>0.30665718031367228</c:v>
                </c:pt>
                <c:pt idx="148">
                  <c:v>0.3070253921415414</c:v>
                </c:pt>
                <c:pt idx="149">
                  <c:v>0.30757414378159409</c:v>
                </c:pt>
                <c:pt idx="150">
                  <c:v>0.30933092330123052</c:v>
                </c:pt>
                <c:pt idx="151">
                  <c:v>0.31182288826832544</c:v>
                </c:pt>
                <c:pt idx="152">
                  <c:v>0.31183043025634605</c:v>
                </c:pt>
                <c:pt idx="153">
                  <c:v>0.32794576903545009</c:v>
                </c:pt>
                <c:pt idx="154">
                  <c:v>0.32281170148481986</c:v>
                </c:pt>
                <c:pt idx="155">
                  <c:v>0.32151868055140831</c:v>
                </c:pt>
                <c:pt idx="156">
                  <c:v>0.31987863284561874</c:v>
                </c:pt>
                <c:pt idx="157">
                  <c:v>0.32421033776810976</c:v>
                </c:pt>
                <c:pt idx="158">
                  <c:v>0.30233851957870506</c:v>
                </c:pt>
                <c:pt idx="159">
                  <c:v>0.29781616895755036</c:v>
                </c:pt>
                <c:pt idx="160">
                  <c:v>0.29887034333153861</c:v>
                </c:pt>
                <c:pt idx="161">
                  <c:v>0.28696210770531766</c:v>
                </c:pt>
                <c:pt idx="162">
                  <c:v>0.28823200166720653</c:v>
                </c:pt>
                <c:pt idx="163">
                  <c:v>0.28812320392695995</c:v>
                </c:pt>
                <c:pt idx="164">
                  <c:v>0.28723972363822881</c:v>
                </c:pt>
                <c:pt idx="165">
                  <c:v>0.2879055545785113</c:v>
                </c:pt>
                <c:pt idx="166">
                  <c:v>0.28989530898179577</c:v>
                </c:pt>
                <c:pt idx="167">
                  <c:v>0.29202296089337676</c:v>
                </c:pt>
                <c:pt idx="168">
                  <c:v>0.28876204982204379</c:v>
                </c:pt>
                <c:pt idx="169">
                  <c:v>0.28324366360458114</c:v>
                </c:pt>
                <c:pt idx="170">
                  <c:v>0.28766129583955108</c:v>
                </c:pt>
                <c:pt idx="171">
                  <c:v>0.28004079739209492</c:v>
                </c:pt>
                <c:pt idx="172">
                  <c:v>0.28084895724193476</c:v>
                </c:pt>
                <c:pt idx="173">
                  <c:v>0.28334385719354604</c:v>
                </c:pt>
                <c:pt idx="174">
                  <c:v>0.26359960726341636</c:v>
                </c:pt>
                <c:pt idx="175">
                  <c:v>0.26581407753978165</c:v>
                </c:pt>
                <c:pt idx="176">
                  <c:v>0.26277095651492655</c:v>
                </c:pt>
                <c:pt idx="177">
                  <c:v>0.27198565958762133</c:v>
                </c:pt>
                <c:pt idx="178">
                  <c:v>0.27120474545933204</c:v>
                </c:pt>
                <c:pt idx="179">
                  <c:v>0.2738028710572053</c:v>
                </c:pt>
                <c:pt idx="180">
                  <c:v>0.27368719895011684</c:v>
                </c:pt>
                <c:pt idx="181">
                  <c:v>0.27322276988229577</c:v>
                </c:pt>
                <c:pt idx="182">
                  <c:v>0.27311575545662892</c:v>
                </c:pt>
                <c:pt idx="183">
                  <c:v>0.27168578182736514</c:v>
                </c:pt>
                <c:pt idx="184">
                  <c:v>0.2696706905266581</c:v>
                </c:pt>
                <c:pt idx="185">
                  <c:v>0.28857958710880749</c:v>
                </c:pt>
                <c:pt idx="186">
                  <c:v>0.28855805785570215</c:v>
                </c:pt>
                <c:pt idx="187">
                  <c:v>0.27974901532494706</c:v>
                </c:pt>
                <c:pt idx="188">
                  <c:v>0.27979364483260122</c:v>
                </c:pt>
                <c:pt idx="189">
                  <c:v>0.27819267655057839</c:v>
                </c:pt>
                <c:pt idx="190">
                  <c:v>0.27381458780441897</c:v>
                </c:pt>
                <c:pt idx="191">
                  <c:v>0.2910388294691163</c:v>
                </c:pt>
                <c:pt idx="192">
                  <c:v>0.29194551783313466</c:v>
                </c:pt>
                <c:pt idx="193">
                  <c:v>0.29443392527096623</c:v>
                </c:pt>
                <c:pt idx="194">
                  <c:v>0.30788858463961666</c:v>
                </c:pt>
                <c:pt idx="195">
                  <c:v>0.30909750910294914</c:v>
                </c:pt>
                <c:pt idx="196">
                  <c:v>0.30909750910294914</c:v>
                </c:pt>
                <c:pt idx="197">
                  <c:v>0.30822200908986386</c:v>
                </c:pt>
                <c:pt idx="198">
                  <c:v>0.30790128664518945</c:v>
                </c:pt>
                <c:pt idx="199">
                  <c:v>0.32899466476304584</c:v>
                </c:pt>
                <c:pt idx="200">
                  <c:v>0.33406553362304786</c:v>
                </c:pt>
                <c:pt idx="201">
                  <c:v>0.33751365549537887</c:v>
                </c:pt>
                <c:pt idx="202">
                  <c:v>0.32923937912523127</c:v>
                </c:pt>
                <c:pt idx="203">
                  <c:v>0.33437324291054898</c:v>
                </c:pt>
                <c:pt idx="204">
                  <c:v>0.33546683264692873</c:v>
                </c:pt>
                <c:pt idx="205">
                  <c:v>0.32547253737788612</c:v>
                </c:pt>
                <c:pt idx="206">
                  <c:v>0.32576149945207727</c:v>
                </c:pt>
                <c:pt idx="207">
                  <c:v>0.32285938419906945</c:v>
                </c:pt>
                <c:pt idx="208">
                  <c:v>0.32369368465324355</c:v>
                </c:pt>
                <c:pt idx="209">
                  <c:v>0.31750216765334749</c:v>
                </c:pt>
                <c:pt idx="210">
                  <c:v>0.31547146526736369</c:v>
                </c:pt>
                <c:pt idx="211">
                  <c:v>0.32488065000271366</c:v>
                </c:pt>
                <c:pt idx="212">
                  <c:v>0.32456075403096096</c:v>
                </c:pt>
                <c:pt idx="213">
                  <c:v>0.33075151380403794</c:v>
                </c:pt>
                <c:pt idx="214">
                  <c:v>0.35696410765023368</c:v>
                </c:pt>
                <c:pt idx="215">
                  <c:v>0.38280619672985267</c:v>
                </c:pt>
                <c:pt idx="216">
                  <c:v>0.41898564130668781</c:v>
                </c:pt>
                <c:pt idx="217">
                  <c:v>0.46256499481192892</c:v>
                </c:pt>
                <c:pt idx="218">
                  <c:v>0.49416989632121444</c:v>
                </c:pt>
                <c:pt idx="219">
                  <c:v>0.53368925957524482</c:v>
                </c:pt>
                <c:pt idx="220">
                  <c:v>0.55259840605169697</c:v>
                </c:pt>
                <c:pt idx="221">
                  <c:v>0.5644040060882024</c:v>
                </c:pt>
                <c:pt idx="222">
                  <c:v>0.57158440347546435</c:v>
                </c:pt>
                <c:pt idx="223">
                  <c:v>0.56869991030820688</c:v>
                </c:pt>
                <c:pt idx="224">
                  <c:v>0.55977323666098144</c:v>
                </c:pt>
                <c:pt idx="225">
                  <c:v>0.56214568554318278</c:v>
                </c:pt>
                <c:pt idx="226">
                  <c:v>0.56011715624423486</c:v>
                </c:pt>
                <c:pt idx="227">
                  <c:v>0.56278815264258686</c:v>
                </c:pt>
                <c:pt idx="228">
                  <c:v>0.52091905979677355</c:v>
                </c:pt>
                <c:pt idx="229">
                  <c:v>0.53182154800668557</c:v>
                </c:pt>
                <c:pt idx="230">
                  <c:v>0.50034809715514106</c:v>
                </c:pt>
                <c:pt idx="231">
                  <c:v>0.50156300473210225</c:v>
                </c:pt>
                <c:pt idx="232">
                  <c:v>0.5089413624456105</c:v>
                </c:pt>
                <c:pt idx="233">
                  <c:v>0.50792921006694991</c:v>
                </c:pt>
                <c:pt idx="234">
                  <c:v>0.50120493171602298</c:v>
                </c:pt>
                <c:pt idx="235">
                  <c:v>0.47714935773595812</c:v>
                </c:pt>
                <c:pt idx="236">
                  <c:v>0.44480511092701513</c:v>
                </c:pt>
                <c:pt idx="237">
                  <c:v>0.42665834914395928</c:v>
                </c:pt>
                <c:pt idx="238">
                  <c:v>0.41371253594771246</c:v>
                </c:pt>
                <c:pt idx="239">
                  <c:v>0.39800521688054702</c:v>
                </c:pt>
                <c:pt idx="240">
                  <c:v>0.3616161952785456</c:v>
                </c:pt>
                <c:pt idx="241">
                  <c:v>0.25844081421988441</c:v>
                </c:pt>
                <c:pt idx="242">
                  <c:v>0.17423376897719312</c:v>
                </c:pt>
                <c:pt idx="243">
                  <c:v>0.16901346303176423</c:v>
                </c:pt>
                <c:pt idx="244">
                  <c:v>0.16791291350359014</c:v>
                </c:pt>
                <c:pt idx="245">
                  <c:v>0.16958216362471412</c:v>
                </c:pt>
                <c:pt idx="246">
                  <c:v>0.17649536954446465</c:v>
                </c:pt>
                <c:pt idx="247">
                  <c:v>0.18189311425098639</c:v>
                </c:pt>
                <c:pt idx="248">
                  <c:v>0.18115058542387705</c:v>
                </c:pt>
                <c:pt idx="249">
                  <c:v>0.17034013707204551</c:v>
                </c:pt>
                <c:pt idx="250">
                  <c:v>0.17151210322410901</c:v>
                </c:pt>
                <c:pt idx="251">
                  <c:v>0.17236252745950509</c:v>
                </c:pt>
                <c:pt idx="252">
                  <c:v>0.17307895162490464</c:v>
                </c:pt>
                <c:pt idx="253">
                  <c:v>0.17646936298190563</c:v>
                </c:pt>
                <c:pt idx="254">
                  <c:v>0.17279638572533368</c:v>
                </c:pt>
                <c:pt idx="255">
                  <c:v>0.1718083832659294</c:v>
                </c:pt>
                <c:pt idx="256">
                  <c:v>0.17114982926089112</c:v>
                </c:pt>
                <c:pt idx="257">
                  <c:v>0.17049540861274451</c:v>
                </c:pt>
                <c:pt idx="258">
                  <c:v>0.24172240747916204</c:v>
                </c:pt>
                <c:pt idx="259">
                  <c:v>0.29033588753718581</c:v>
                </c:pt>
                <c:pt idx="260">
                  <c:v>0.34126073025862774</c:v>
                </c:pt>
                <c:pt idx="261">
                  <c:v>0.35297053776043064</c:v>
                </c:pt>
                <c:pt idx="262">
                  <c:v>0.38404633783040953</c:v>
                </c:pt>
                <c:pt idx="263">
                  <c:v>0.4058253591323277</c:v>
                </c:pt>
                <c:pt idx="264">
                  <c:v>0.42403233074124608</c:v>
                </c:pt>
                <c:pt idx="265">
                  <c:v>0.44464190622961286</c:v>
                </c:pt>
                <c:pt idx="266">
                  <c:v>0.44277735943630742</c:v>
                </c:pt>
                <c:pt idx="267">
                  <c:v>0.4459244712551278</c:v>
                </c:pt>
                <c:pt idx="268">
                  <c:v>0.44835529779061789</c:v>
                </c:pt>
                <c:pt idx="269">
                  <c:v>0.46099586758914257</c:v>
                </c:pt>
                <c:pt idx="270">
                  <c:v>0.46733703474884986</c:v>
                </c:pt>
                <c:pt idx="271">
                  <c:v>0.47999740139668939</c:v>
                </c:pt>
                <c:pt idx="272">
                  <c:v>0.47401024874445136</c:v>
                </c:pt>
                <c:pt idx="273">
                  <c:v>0.46838703905665907</c:v>
                </c:pt>
                <c:pt idx="274">
                  <c:v>0.45138721146478855</c:v>
                </c:pt>
                <c:pt idx="275">
                  <c:v>0.43466234408906246</c:v>
                </c:pt>
                <c:pt idx="276">
                  <c:v>0.43127599676879469</c:v>
                </c:pt>
                <c:pt idx="277">
                  <c:v>0.4295303758584339</c:v>
                </c:pt>
                <c:pt idx="278">
                  <c:v>0.41950377394622418</c:v>
                </c:pt>
                <c:pt idx="279">
                  <c:v>0.39552192681169984</c:v>
                </c:pt>
                <c:pt idx="280">
                  <c:v>0.38339606044182706</c:v>
                </c:pt>
                <c:pt idx="281">
                  <c:v>0.36760824474949028</c:v>
                </c:pt>
                <c:pt idx="282">
                  <c:v>0.36386684607195996</c:v>
                </c:pt>
                <c:pt idx="283">
                  <c:v>0.35613598707533467</c:v>
                </c:pt>
                <c:pt idx="284">
                  <c:v>0.3226613700662766</c:v>
                </c:pt>
                <c:pt idx="285">
                  <c:v>0.28905033145322839</c:v>
                </c:pt>
                <c:pt idx="286">
                  <c:v>0.26968027026222169</c:v>
                </c:pt>
                <c:pt idx="287">
                  <c:v>0.2473305387121304</c:v>
                </c:pt>
                <c:pt idx="288">
                  <c:v>0.26528506019902481</c:v>
                </c:pt>
                <c:pt idx="289">
                  <c:v>0.26435468883493096</c:v>
                </c:pt>
                <c:pt idx="290">
                  <c:v>0.26095076774391662</c:v>
                </c:pt>
                <c:pt idx="291">
                  <c:v>0.25886042904022188</c:v>
                </c:pt>
                <c:pt idx="292">
                  <c:v>0.26418931246307037</c:v>
                </c:pt>
                <c:pt idx="293">
                  <c:v>0.26431978050733373</c:v>
                </c:pt>
                <c:pt idx="294">
                  <c:v>0.26425345964190061</c:v>
                </c:pt>
                <c:pt idx="295">
                  <c:v>0.26968972666464675</c:v>
                </c:pt>
                <c:pt idx="296">
                  <c:v>0.26972008225711819</c:v>
                </c:pt>
                <c:pt idx="297">
                  <c:v>0.27240377167563173</c:v>
                </c:pt>
                <c:pt idx="298">
                  <c:v>0.2746467240754481</c:v>
                </c:pt>
                <c:pt idx="299">
                  <c:v>0.27418701987251781</c:v>
                </c:pt>
                <c:pt idx="300">
                  <c:v>0.28983174698301079</c:v>
                </c:pt>
                <c:pt idx="301">
                  <c:v>0.29773386099230487</c:v>
                </c:pt>
                <c:pt idx="302">
                  <c:v>0.30900863351125624</c:v>
                </c:pt>
                <c:pt idx="303">
                  <c:v>0.31328066658906917</c:v>
                </c:pt>
                <c:pt idx="304">
                  <c:v>0.318002994521213</c:v>
                </c:pt>
                <c:pt idx="305">
                  <c:v>0.31803834946080761</c:v>
                </c:pt>
                <c:pt idx="306">
                  <c:v>0.32647265175983037</c:v>
                </c:pt>
                <c:pt idx="307">
                  <c:v>0.33328036476871581</c:v>
                </c:pt>
                <c:pt idx="308">
                  <c:v>0.33173608649718778</c:v>
                </c:pt>
                <c:pt idx="309">
                  <c:v>0.34220857155897061</c:v>
                </c:pt>
                <c:pt idx="310">
                  <c:v>0.34176515947773212</c:v>
                </c:pt>
                <c:pt idx="311">
                  <c:v>0.33563367795407562</c:v>
                </c:pt>
                <c:pt idx="312">
                  <c:v>0.32822785826206596</c:v>
                </c:pt>
                <c:pt idx="313">
                  <c:v>0.32995268929214772</c:v>
                </c:pt>
                <c:pt idx="314">
                  <c:v>0.33871809879142611</c:v>
                </c:pt>
                <c:pt idx="315">
                  <c:v>0.33765975820499783</c:v>
                </c:pt>
                <c:pt idx="316">
                  <c:v>0.34560972864735179</c:v>
                </c:pt>
                <c:pt idx="317">
                  <c:v>0.3345105348200294</c:v>
                </c:pt>
                <c:pt idx="318">
                  <c:v>0.31905170130918936</c:v>
                </c:pt>
                <c:pt idx="319">
                  <c:v>0.31833892566627181</c:v>
                </c:pt>
                <c:pt idx="320">
                  <c:v>0.31793341313694717</c:v>
                </c:pt>
                <c:pt idx="321">
                  <c:v>0.31851674926978696</c:v>
                </c:pt>
                <c:pt idx="322">
                  <c:v>0.32810586263286945</c:v>
                </c:pt>
                <c:pt idx="323">
                  <c:v>0.32639973699108848</c:v>
                </c:pt>
                <c:pt idx="324">
                  <c:v>0.33996731138475644</c:v>
                </c:pt>
                <c:pt idx="325">
                  <c:v>0.33231622389491144</c:v>
                </c:pt>
                <c:pt idx="326">
                  <c:v>0.33343857667829502</c:v>
                </c:pt>
                <c:pt idx="327">
                  <c:v>0.33114619301202347</c:v>
                </c:pt>
                <c:pt idx="328">
                  <c:v>0.33054609447660266</c:v>
                </c:pt>
                <c:pt idx="329">
                  <c:v>0.33092097979768031</c:v>
                </c:pt>
                <c:pt idx="330">
                  <c:v>0.33079584093799758</c:v>
                </c:pt>
                <c:pt idx="331">
                  <c:v>0.31849862280031871</c:v>
                </c:pt>
                <c:pt idx="332">
                  <c:v>0.30791393913643644</c:v>
                </c:pt>
                <c:pt idx="333">
                  <c:v>0.30126689254491906</c:v>
                </c:pt>
                <c:pt idx="334">
                  <c:v>0.31128271120345186</c:v>
                </c:pt>
                <c:pt idx="335">
                  <c:v>0.31199329189636027</c:v>
                </c:pt>
                <c:pt idx="336">
                  <c:v>0.30573508479866141</c:v>
                </c:pt>
                <c:pt idx="337">
                  <c:v>0.30923681525128932</c:v>
                </c:pt>
                <c:pt idx="338">
                  <c:v>0.30829604438688596</c:v>
                </c:pt>
                <c:pt idx="339">
                  <c:v>0.29833822267912691</c:v>
                </c:pt>
                <c:pt idx="340">
                  <c:v>0.31184161832175539</c:v>
                </c:pt>
                <c:pt idx="341">
                  <c:v>0.31605788759202935</c:v>
                </c:pt>
                <c:pt idx="342">
                  <c:v>0.32073840874192378</c:v>
                </c:pt>
                <c:pt idx="343">
                  <c:v>0.32211957485503584</c:v>
                </c:pt>
                <c:pt idx="344">
                  <c:v>0.31078118041631858</c:v>
                </c:pt>
                <c:pt idx="345">
                  <c:v>0.30747394972589986</c:v>
                </c:pt>
                <c:pt idx="346">
                  <c:v>0.29171538628824933</c:v>
                </c:pt>
                <c:pt idx="347">
                  <c:v>0.291589121035008</c:v>
                </c:pt>
                <c:pt idx="348">
                  <c:v>0.31719934289416785</c:v>
                </c:pt>
                <c:pt idx="349">
                  <c:v>0.32780131962419506</c:v>
                </c:pt>
                <c:pt idx="350">
                  <c:v>0.3330347712802082</c:v>
                </c:pt>
                <c:pt idx="351">
                  <c:v>0.35176849895782109</c:v>
                </c:pt>
                <c:pt idx="352">
                  <c:v>0.34112318178848222</c:v>
                </c:pt>
                <c:pt idx="353">
                  <c:v>0.3410298089307886</c:v>
                </c:pt>
                <c:pt idx="354">
                  <c:v>0.33071841501520527</c:v>
                </c:pt>
                <c:pt idx="355">
                  <c:v>0.34066619280097754</c:v>
                </c:pt>
                <c:pt idx="356">
                  <c:v>0.33346374699801129</c:v>
                </c:pt>
                <c:pt idx="357">
                  <c:v>0.33622150209718249</c:v>
                </c:pt>
                <c:pt idx="358">
                  <c:v>0.34503077130876897</c:v>
                </c:pt>
                <c:pt idx="359">
                  <c:v>0.35767654474500826</c:v>
                </c:pt>
                <c:pt idx="360">
                  <c:v>0.34698138295341308</c:v>
                </c:pt>
                <c:pt idx="361">
                  <c:v>0.34441922082196458</c:v>
                </c:pt>
                <c:pt idx="362">
                  <c:v>0.34404115185372169</c:v>
                </c:pt>
                <c:pt idx="363">
                  <c:v>0.35941672304171157</c:v>
                </c:pt>
                <c:pt idx="364">
                  <c:v>0.35075476505026143</c:v>
                </c:pt>
                <c:pt idx="365">
                  <c:v>0.3631925087664486</c:v>
                </c:pt>
                <c:pt idx="366">
                  <c:v>0.36212244419092904</c:v>
                </c:pt>
                <c:pt idx="367">
                  <c:v>0.35070751536434375</c:v>
                </c:pt>
                <c:pt idx="368">
                  <c:v>0.36378526286651003</c:v>
                </c:pt>
                <c:pt idx="369">
                  <c:v>0.36893815052960233</c:v>
                </c:pt>
                <c:pt idx="370">
                  <c:v>0.38530116032610645</c:v>
                </c:pt>
                <c:pt idx="371">
                  <c:v>0.38019903144500605</c:v>
                </c:pt>
                <c:pt idx="372">
                  <c:v>0.3741304065556818</c:v>
                </c:pt>
                <c:pt idx="373">
                  <c:v>0.36886721633720837</c:v>
                </c:pt>
                <c:pt idx="374">
                  <c:v>0.36773561697661955</c:v>
                </c:pt>
                <c:pt idx="375">
                  <c:v>0.39370479199436831</c:v>
                </c:pt>
                <c:pt idx="376">
                  <c:v>0.39170049761797848</c:v>
                </c:pt>
                <c:pt idx="377">
                  <c:v>0.3982885176717566</c:v>
                </c:pt>
                <c:pt idx="378">
                  <c:v>0.38054466281800747</c:v>
                </c:pt>
                <c:pt idx="379">
                  <c:v>0.37403802904392147</c:v>
                </c:pt>
                <c:pt idx="380">
                  <c:v>0.36967371714602248</c:v>
                </c:pt>
                <c:pt idx="381">
                  <c:v>0.35222358648261926</c:v>
                </c:pt>
                <c:pt idx="382">
                  <c:v>0.3535501361540182</c:v>
                </c:pt>
                <c:pt idx="383">
                  <c:v>0.35348646324418914</c:v>
                </c:pt>
                <c:pt idx="384">
                  <c:v>0.35595019243406822</c:v>
                </c:pt>
                <c:pt idx="385">
                  <c:v>0.37327348851996173</c:v>
                </c:pt>
                <c:pt idx="386">
                  <c:v>0.37400431246381655</c:v>
                </c:pt>
                <c:pt idx="387">
                  <c:v>0.37225213106644156</c:v>
                </c:pt>
                <c:pt idx="388">
                  <c:v>0.36586271861594105</c:v>
                </c:pt>
                <c:pt idx="389">
                  <c:v>0.35271735334997018</c:v>
                </c:pt>
                <c:pt idx="390">
                  <c:v>0.353759932989748</c:v>
                </c:pt>
                <c:pt idx="391">
                  <c:v>0.36447719867233691</c:v>
                </c:pt>
                <c:pt idx="392">
                  <c:v>0.36425766711513974</c:v>
                </c:pt>
                <c:pt idx="393">
                  <c:v>0.34555374243518977</c:v>
                </c:pt>
                <c:pt idx="394">
                  <c:v>0.34291361270241882</c:v>
                </c:pt>
                <c:pt idx="395">
                  <c:v>0.32674889184029132</c:v>
                </c:pt>
                <c:pt idx="396">
                  <c:v>0.32685549078117804</c:v>
                </c:pt>
                <c:pt idx="397">
                  <c:v>0.33354162131777276</c:v>
                </c:pt>
                <c:pt idx="398">
                  <c:v>0.32618930064060903</c:v>
                </c:pt>
                <c:pt idx="399">
                  <c:v>0.32849375591271496</c:v>
                </c:pt>
                <c:pt idx="400">
                  <c:v>0.32160096879321781</c:v>
                </c:pt>
                <c:pt idx="401">
                  <c:v>0.32136704212912526</c:v>
                </c:pt>
                <c:pt idx="402">
                  <c:v>0.32471835475757282</c:v>
                </c:pt>
                <c:pt idx="403">
                  <c:v>0.32357456310426569</c:v>
                </c:pt>
                <c:pt idx="404">
                  <c:v>0.31883869224125666</c:v>
                </c:pt>
                <c:pt idx="405">
                  <c:v>0.29416924203735617</c:v>
                </c:pt>
                <c:pt idx="406">
                  <c:v>0.29755193509485023</c:v>
                </c:pt>
                <c:pt idx="407">
                  <c:v>0.29419093439127247</c:v>
                </c:pt>
                <c:pt idx="408">
                  <c:v>0.29331821673016245</c:v>
                </c:pt>
                <c:pt idx="409">
                  <c:v>0.29845181402546245</c:v>
                </c:pt>
                <c:pt idx="410">
                  <c:v>0.29961344545631696</c:v>
                </c:pt>
                <c:pt idx="411">
                  <c:v>0.30024805411020933</c:v>
                </c:pt>
                <c:pt idx="412">
                  <c:v>0.30133488709950101</c:v>
                </c:pt>
                <c:pt idx="413">
                  <c:v>0.30686114693600586</c:v>
                </c:pt>
                <c:pt idx="414">
                  <c:v>0.30088314790781945</c:v>
                </c:pt>
                <c:pt idx="415">
                  <c:v>0.29490326032684672</c:v>
                </c:pt>
                <c:pt idx="416">
                  <c:v>0.29766032301896433</c:v>
                </c:pt>
                <c:pt idx="417">
                  <c:v>0.29645559437694291</c:v>
                </c:pt>
                <c:pt idx="418">
                  <c:v>0.31131564764726083</c:v>
                </c:pt>
                <c:pt idx="419">
                  <c:v>0.31219841004240434</c:v>
                </c:pt>
                <c:pt idx="420">
                  <c:v>0.31073088731246318</c:v>
                </c:pt>
                <c:pt idx="421">
                  <c:v>0.30538191029932116</c:v>
                </c:pt>
                <c:pt idx="422">
                  <c:v>0.31036687969495469</c:v>
                </c:pt>
                <c:pt idx="423">
                  <c:v>0.32316978417659581</c:v>
                </c:pt>
                <c:pt idx="424">
                  <c:v>0.33518737736221543</c:v>
                </c:pt>
                <c:pt idx="425">
                  <c:v>0.3353788045182961</c:v>
                </c:pt>
                <c:pt idx="426">
                  <c:v>0.34516766250709618</c:v>
                </c:pt>
                <c:pt idx="427">
                  <c:v>0.33450396599541549</c:v>
                </c:pt>
                <c:pt idx="428">
                  <c:v>0.33528809113830615</c:v>
                </c:pt>
                <c:pt idx="429">
                  <c:v>0.32720666842078178</c:v>
                </c:pt>
                <c:pt idx="430">
                  <c:v>0.32171092215571973</c:v>
                </c:pt>
                <c:pt idx="431">
                  <c:v>0.32182868402248038</c:v>
                </c:pt>
                <c:pt idx="432">
                  <c:v>0.33790082682309791</c:v>
                </c:pt>
                <c:pt idx="433">
                  <c:v>0.33857987176967708</c:v>
                </c:pt>
                <c:pt idx="434">
                  <c:v>0.3478817639777872</c:v>
                </c:pt>
                <c:pt idx="435">
                  <c:v>0.35868228112615796</c:v>
                </c:pt>
                <c:pt idx="436">
                  <c:v>0.3541794949241216</c:v>
                </c:pt>
                <c:pt idx="437">
                  <c:v>0.3550200862770953</c:v>
                </c:pt>
                <c:pt idx="438">
                  <c:v>0.35439248586389954</c:v>
                </c:pt>
                <c:pt idx="439">
                  <c:v>0.34130946994813371</c:v>
                </c:pt>
                <c:pt idx="440">
                  <c:v>0.3413071404475338</c:v>
                </c:pt>
                <c:pt idx="441">
                  <c:v>0.34304975727824416</c:v>
                </c:pt>
                <c:pt idx="442">
                  <c:v>0.34093612492346681</c:v>
                </c:pt>
                <c:pt idx="443">
                  <c:v>0.33236770660162196</c:v>
                </c:pt>
                <c:pt idx="444">
                  <c:v>0.33186539564323581</c:v>
                </c:pt>
                <c:pt idx="445">
                  <c:v>0.30678984046337315</c:v>
                </c:pt>
                <c:pt idx="446">
                  <c:v>0.31658769563130906</c:v>
                </c:pt>
                <c:pt idx="447">
                  <c:v>0.32229658916871534</c:v>
                </c:pt>
                <c:pt idx="448">
                  <c:v>0.31298204625257642</c:v>
                </c:pt>
                <c:pt idx="449">
                  <c:v>0.31983988466490682</c:v>
                </c:pt>
                <c:pt idx="450">
                  <c:v>0.31949981399772809</c:v>
                </c:pt>
                <c:pt idx="451">
                  <c:v>0.34484504245254138</c:v>
                </c:pt>
                <c:pt idx="452">
                  <c:v>0.33641232353097267</c:v>
                </c:pt>
                <c:pt idx="453">
                  <c:v>0.33012351736781959</c:v>
                </c:pt>
                <c:pt idx="454">
                  <c:v>0.33572472375585533</c:v>
                </c:pt>
                <c:pt idx="455">
                  <c:v>0.36216467674783925</c:v>
                </c:pt>
                <c:pt idx="456">
                  <c:v>0.35125568398983054</c:v>
                </c:pt>
                <c:pt idx="457">
                  <c:v>0.36071785197453743</c:v>
                </c:pt>
                <c:pt idx="458">
                  <c:v>0.36193575875802064</c:v>
                </c:pt>
                <c:pt idx="459">
                  <c:v>0.36823666251997761</c:v>
                </c:pt>
                <c:pt idx="460">
                  <c:v>0.36189933396749441</c:v>
                </c:pt>
                <c:pt idx="461">
                  <c:v>0.36216579098936141</c:v>
                </c:pt>
                <c:pt idx="462">
                  <c:v>0.34697966078599701</c:v>
                </c:pt>
                <c:pt idx="463">
                  <c:v>0.36595846404344423</c:v>
                </c:pt>
                <c:pt idx="464">
                  <c:v>0.35788177966543661</c:v>
                </c:pt>
                <c:pt idx="465">
                  <c:v>0.34310406019079953</c:v>
                </c:pt>
                <c:pt idx="466">
                  <c:v>0.34537229007579251</c:v>
                </c:pt>
                <c:pt idx="467">
                  <c:v>0.33622085346502523</c:v>
                </c:pt>
                <c:pt idx="468">
                  <c:v>0.33585994333746633</c:v>
                </c:pt>
                <c:pt idx="469">
                  <c:v>0.34979234914534701</c:v>
                </c:pt>
                <c:pt idx="470">
                  <c:v>0.35767381300694445</c:v>
                </c:pt>
                <c:pt idx="471">
                  <c:v>0.35984807122918044</c:v>
                </c:pt>
                <c:pt idx="472">
                  <c:v>0.36437135087002448</c:v>
                </c:pt>
                <c:pt idx="473">
                  <c:v>0.38170486380073132</c:v>
                </c:pt>
                <c:pt idx="474">
                  <c:v>0.39695526291759614</c:v>
                </c:pt>
                <c:pt idx="475">
                  <c:v>0.39325460739272156</c:v>
                </c:pt>
                <c:pt idx="476">
                  <c:v>0.38259772100771777</c:v>
                </c:pt>
                <c:pt idx="477">
                  <c:v>0.37941773349022989</c:v>
                </c:pt>
                <c:pt idx="478">
                  <c:v>0.38391874248771507</c:v>
                </c:pt>
                <c:pt idx="479">
                  <c:v>0.3781853333761967</c:v>
                </c:pt>
                <c:pt idx="480">
                  <c:v>0.38547504451930703</c:v>
                </c:pt>
                <c:pt idx="481">
                  <c:v>0.36294888265989106</c:v>
                </c:pt>
                <c:pt idx="482">
                  <c:v>0.36175637301178154</c:v>
                </c:pt>
                <c:pt idx="483">
                  <c:v>0.36500867090938283</c:v>
                </c:pt>
                <c:pt idx="484">
                  <c:v>0.35234774931326912</c:v>
                </c:pt>
                <c:pt idx="485">
                  <c:v>0.32682372610377741</c:v>
                </c:pt>
                <c:pt idx="486">
                  <c:v>0.3362578220139833</c:v>
                </c:pt>
                <c:pt idx="487">
                  <c:v>0.33194457816852635</c:v>
                </c:pt>
                <c:pt idx="488">
                  <c:v>0.32869766245520221</c:v>
                </c:pt>
                <c:pt idx="489">
                  <c:v>0.31964672350046314</c:v>
                </c:pt>
                <c:pt idx="490">
                  <c:v>0.32679018447822855</c:v>
                </c:pt>
                <c:pt idx="491">
                  <c:v>0.33168500941810852</c:v>
                </c:pt>
                <c:pt idx="492">
                  <c:v>0.32627188835707166</c:v>
                </c:pt>
                <c:pt idx="493">
                  <c:v>0.30106943477708015</c:v>
                </c:pt>
                <c:pt idx="494">
                  <c:v>0.3044720792850264</c:v>
                </c:pt>
                <c:pt idx="495">
                  <c:v>0.31090486294279135</c:v>
                </c:pt>
                <c:pt idx="496">
                  <c:v>0.31857068246100007</c:v>
                </c:pt>
                <c:pt idx="497">
                  <c:v>0.3171871007332322</c:v>
                </c:pt>
                <c:pt idx="498">
                  <c:v>0.3163440374651722</c:v>
                </c:pt>
                <c:pt idx="499">
                  <c:v>0.29616061650389369</c:v>
                </c:pt>
                <c:pt idx="500">
                  <c:v>0.29087168057752499</c:v>
                </c:pt>
                <c:pt idx="501">
                  <c:v>0.30204509294151638</c:v>
                </c:pt>
                <c:pt idx="502">
                  <c:v>0.30241224746143575</c:v>
                </c:pt>
                <c:pt idx="503">
                  <c:v>0.28943392132468709</c:v>
                </c:pt>
                <c:pt idx="504">
                  <c:v>0.2761912880122574</c:v>
                </c:pt>
                <c:pt idx="505">
                  <c:v>0.29124795740059056</c:v>
                </c:pt>
                <c:pt idx="506">
                  <c:v>0.29495584138188241</c:v>
                </c:pt>
                <c:pt idx="507">
                  <c:v>0.29047671690629395</c:v>
                </c:pt>
                <c:pt idx="508">
                  <c:v>0.2904767169062939</c:v>
                </c:pt>
                <c:pt idx="509">
                  <c:v>0.28752533526651547</c:v>
                </c:pt>
                <c:pt idx="510">
                  <c:v>0.29667444465976173</c:v>
                </c:pt>
                <c:pt idx="511">
                  <c:v>0.29248247298790386</c:v>
                </c:pt>
                <c:pt idx="512">
                  <c:v>0.29818841949740188</c:v>
                </c:pt>
                <c:pt idx="513">
                  <c:v>0.29627248819581148</c:v>
                </c:pt>
                <c:pt idx="514">
                  <c:v>0.30377548680446215</c:v>
                </c:pt>
                <c:pt idx="515">
                  <c:v>0.3064652626460635</c:v>
                </c:pt>
                <c:pt idx="516">
                  <c:v>0.30113964810071442</c:v>
                </c:pt>
                <c:pt idx="517">
                  <c:v>0.30850832191123323</c:v>
                </c:pt>
                <c:pt idx="518">
                  <c:v>0.32753545932947176</c:v>
                </c:pt>
                <c:pt idx="519">
                  <c:v>0.33604157802696549</c:v>
                </c:pt>
                <c:pt idx="520">
                  <c:v>0.33891239670570705</c:v>
                </c:pt>
                <c:pt idx="521">
                  <c:v>0.33358512306174087</c:v>
                </c:pt>
                <c:pt idx="522">
                  <c:v>0.34804155298434802</c:v>
                </c:pt>
                <c:pt idx="523">
                  <c:v>0.35318297461584269</c:v>
                </c:pt>
                <c:pt idx="524">
                  <c:v>0.36411204427304261</c:v>
                </c:pt>
                <c:pt idx="525">
                  <c:v>0.35756091237343746</c:v>
                </c:pt>
                <c:pt idx="526">
                  <c:v>0.35194195465124084</c:v>
                </c:pt>
                <c:pt idx="527">
                  <c:v>0.35062382560540012</c:v>
                </c:pt>
                <c:pt idx="528">
                  <c:v>0.351361674000988</c:v>
                </c:pt>
                <c:pt idx="529">
                  <c:v>0.35297206896032352</c:v>
                </c:pt>
                <c:pt idx="530">
                  <c:v>0.34666876120338297</c:v>
                </c:pt>
                <c:pt idx="531">
                  <c:v>0.33812927561007428</c:v>
                </c:pt>
                <c:pt idx="532">
                  <c:v>0.3261282231710404</c:v>
                </c:pt>
                <c:pt idx="533">
                  <c:v>0.32880942182111611</c:v>
                </c:pt>
                <c:pt idx="534">
                  <c:v>0.33794733886767375</c:v>
                </c:pt>
                <c:pt idx="535">
                  <c:v>0.32433770286656494</c:v>
                </c:pt>
                <c:pt idx="536">
                  <c:v>0.31736981205909742</c:v>
                </c:pt>
                <c:pt idx="537">
                  <c:v>0.32320332414321146</c:v>
                </c:pt>
                <c:pt idx="538">
                  <c:v>0.32268643006943049</c:v>
                </c:pt>
                <c:pt idx="539">
                  <c:v>0.32229664832033789</c:v>
                </c:pt>
                <c:pt idx="540">
                  <c:v>0.32545389314736833</c:v>
                </c:pt>
                <c:pt idx="541">
                  <c:v>0.33134773007877999</c:v>
                </c:pt>
                <c:pt idx="542">
                  <c:v>0.3266910484165253</c:v>
                </c:pt>
                <c:pt idx="543">
                  <c:v>0.32692055307291173</c:v>
                </c:pt>
                <c:pt idx="544">
                  <c:v>0.31571272593660843</c:v>
                </c:pt>
                <c:pt idx="545">
                  <c:v>0.30636173450252413</c:v>
                </c:pt>
                <c:pt idx="546">
                  <c:v>0.30649798892630081</c:v>
                </c:pt>
                <c:pt idx="547">
                  <c:v>0.30399299396091706</c:v>
                </c:pt>
                <c:pt idx="548">
                  <c:v>0.30556957826937992</c:v>
                </c:pt>
                <c:pt idx="549">
                  <c:v>0.30428793175832813</c:v>
                </c:pt>
                <c:pt idx="550">
                  <c:v>0.2970174805212959</c:v>
                </c:pt>
                <c:pt idx="551">
                  <c:v>0.30507238451108021</c:v>
                </c:pt>
                <c:pt idx="552">
                  <c:v>0.294823745196862</c:v>
                </c:pt>
                <c:pt idx="553">
                  <c:v>0.28657364391596835</c:v>
                </c:pt>
                <c:pt idx="554">
                  <c:v>0.27771743145511019</c:v>
                </c:pt>
                <c:pt idx="555">
                  <c:v>0.27792259404086822</c:v>
                </c:pt>
                <c:pt idx="556">
                  <c:v>0.27836784687183436</c:v>
                </c:pt>
                <c:pt idx="557">
                  <c:v>0.2922605303166998</c:v>
                </c:pt>
                <c:pt idx="558">
                  <c:v>0.29331031721832673</c:v>
                </c:pt>
                <c:pt idx="559">
                  <c:v>0.29457397871008945</c:v>
                </c:pt>
                <c:pt idx="560">
                  <c:v>0.30248479728665056</c:v>
                </c:pt>
                <c:pt idx="561">
                  <c:v>0.30427832689175954</c:v>
                </c:pt>
                <c:pt idx="562">
                  <c:v>0.30549362976152722</c:v>
                </c:pt>
                <c:pt idx="563">
                  <c:v>0.29711334317170085</c:v>
                </c:pt>
                <c:pt idx="564">
                  <c:v>0.29204596985007331</c:v>
                </c:pt>
                <c:pt idx="565">
                  <c:v>0.2938999910488605</c:v>
                </c:pt>
                <c:pt idx="566">
                  <c:v>0.29653382996935457</c:v>
                </c:pt>
                <c:pt idx="567">
                  <c:v>0.28211481849789083</c:v>
                </c:pt>
                <c:pt idx="568">
                  <c:v>0.27456798827146561</c:v>
                </c:pt>
                <c:pt idx="569">
                  <c:v>0.27404234148837692</c:v>
                </c:pt>
                <c:pt idx="570">
                  <c:v>0.26192387292151875</c:v>
                </c:pt>
                <c:pt idx="571">
                  <c:v>0.25834550687101604</c:v>
                </c:pt>
                <c:pt idx="572">
                  <c:v>0.26501880773926706</c:v>
                </c:pt>
                <c:pt idx="573">
                  <c:v>0.26640275370659239</c:v>
                </c:pt>
                <c:pt idx="574">
                  <c:v>0.26747319711787398</c:v>
                </c:pt>
                <c:pt idx="575">
                  <c:v>0.27832448564029544</c:v>
                </c:pt>
                <c:pt idx="576">
                  <c:v>0.28626590805585145</c:v>
                </c:pt>
                <c:pt idx="577">
                  <c:v>0.28489454897785876</c:v>
                </c:pt>
                <c:pt idx="578">
                  <c:v>0.27018133919289633</c:v>
                </c:pt>
                <c:pt idx="579">
                  <c:v>0.26351280417914053</c:v>
                </c:pt>
                <c:pt idx="580">
                  <c:v>0.26525549272254395</c:v>
                </c:pt>
                <c:pt idx="581">
                  <c:v>0.25899610732045208</c:v>
                </c:pt>
                <c:pt idx="582">
                  <c:v>0.25457180908180538</c:v>
                </c:pt>
                <c:pt idx="583">
                  <c:v>0.24995118261773291</c:v>
                </c:pt>
                <c:pt idx="584">
                  <c:v>0.24693532501478352</c:v>
                </c:pt>
                <c:pt idx="585">
                  <c:v>0.24833771579330019</c:v>
                </c:pt>
                <c:pt idx="586">
                  <c:v>0.25009859572008153</c:v>
                </c:pt>
                <c:pt idx="587">
                  <c:v>0.23743376229396887</c:v>
                </c:pt>
                <c:pt idx="588">
                  <c:v>0.23522867106157858</c:v>
                </c:pt>
                <c:pt idx="589">
                  <c:v>0.23140023261017234</c:v>
                </c:pt>
                <c:pt idx="590">
                  <c:v>0.22468723298222237</c:v>
                </c:pt>
                <c:pt idx="591">
                  <c:v>0.23662963492845246</c:v>
                </c:pt>
                <c:pt idx="592">
                  <c:v>0.2371416796534937</c:v>
                </c:pt>
                <c:pt idx="593">
                  <c:v>0.25392675512017249</c:v>
                </c:pt>
                <c:pt idx="594">
                  <c:v>0.25428735534538377</c:v>
                </c:pt>
                <c:pt idx="595">
                  <c:v>0.27042097619491567</c:v>
                </c:pt>
                <c:pt idx="596">
                  <c:v>0.2669846877071485</c:v>
                </c:pt>
                <c:pt idx="597">
                  <c:v>0.26542439867172973</c:v>
                </c:pt>
                <c:pt idx="598">
                  <c:v>0.26580478966628523</c:v>
                </c:pt>
                <c:pt idx="599">
                  <c:v>0.27911555293180734</c:v>
                </c:pt>
                <c:pt idx="600">
                  <c:v>0.29677524888467488</c:v>
                </c:pt>
                <c:pt idx="601">
                  <c:v>0.29412155367643594</c:v>
                </c:pt>
                <c:pt idx="602">
                  <c:v>0.31549149580920127</c:v>
                </c:pt>
                <c:pt idx="603">
                  <c:v>0.35465468945540329</c:v>
                </c:pt>
                <c:pt idx="604">
                  <c:v>0.39493893633904087</c:v>
                </c:pt>
                <c:pt idx="605">
                  <c:v>0.42014724874322051</c:v>
                </c:pt>
                <c:pt idx="606">
                  <c:v>0.42128556983212456</c:v>
                </c:pt>
                <c:pt idx="607">
                  <c:v>0.45559765840171756</c:v>
                </c:pt>
                <c:pt idx="608">
                  <c:v>0.47261498918673661</c:v>
                </c:pt>
                <c:pt idx="609">
                  <c:v>0.49714033023296161</c:v>
                </c:pt>
                <c:pt idx="610">
                  <c:v>0.51383466806677036</c:v>
                </c:pt>
                <c:pt idx="611">
                  <c:v>0.52985859412932801</c:v>
                </c:pt>
                <c:pt idx="612">
                  <c:v>0.54825236534009736</c:v>
                </c:pt>
                <c:pt idx="613">
                  <c:v>0.5503892144778969</c:v>
                </c:pt>
                <c:pt idx="614">
                  <c:v>0.54779621038680892</c:v>
                </c:pt>
                <c:pt idx="615">
                  <c:v>0.56338340924438923</c:v>
                </c:pt>
                <c:pt idx="616">
                  <c:v>0.54859208459192055</c:v>
                </c:pt>
                <c:pt idx="617">
                  <c:v>0.54142763434985297</c:v>
                </c:pt>
                <c:pt idx="618">
                  <c:v>0.53151759531704312</c:v>
                </c:pt>
                <c:pt idx="619">
                  <c:v>0.51109299772526606</c:v>
                </c:pt>
                <c:pt idx="620">
                  <c:v>0.52008757200071898</c:v>
                </c:pt>
                <c:pt idx="621">
                  <c:v>0.5213097229604754</c:v>
                </c:pt>
                <c:pt idx="622">
                  <c:v>0.49552503300856432</c:v>
                </c:pt>
                <c:pt idx="623">
                  <c:v>0.49686104721957869</c:v>
                </c:pt>
                <c:pt idx="624">
                  <c:v>0.4904223296313765</c:v>
                </c:pt>
                <c:pt idx="625">
                  <c:v>0.43478630216903069</c:v>
                </c:pt>
                <c:pt idx="626">
                  <c:v>0.41990719435129398</c:v>
                </c:pt>
                <c:pt idx="627">
                  <c:v>0.40234328565804345</c:v>
                </c:pt>
                <c:pt idx="628">
                  <c:v>0.36109466886512542</c:v>
                </c:pt>
                <c:pt idx="629">
                  <c:v>0.2502542848559251</c:v>
                </c:pt>
                <c:pt idx="630">
                  <c:v>0.24134553303237002</c:v>
                </c:pt>
                <c:pt idx="631">
                  <c:v>0.17996989386698684</c:v>
                </c:pt>
                <c:pt idx="632">
                  <c:v>0.17087852936393166</c:v>
                </c:pt>
                <c:pt idx="633">
                  <c:v>0.1747373986077406</c:v>
                </c:pt>
                <c:pt idx="634">
                  <c:v>0.17761777629318282</c:v>
                </c:pt>
                <c:pt idx="635">
                  <c:v>0.17905333073733201</c:v>
                </c:pt>
                <c:pt idx="636">
                  <c:v>0.1689787862552084</c:v>
                </c:pt>
                <c:pt idx="637">
                  <c:v>0.1694513082652967</c:v>
                </c:pt>
                <c:pt idx="638">
                  <c:v>0.17541995590960582</c:v>
                </c:pt>
                <c:pt idx="639">
                  <c:v>0.18088581227474379</c:v>
                </c:pt>
                <c:pt idx="640">
                  <c:v>0.18088347077413308</c:v>
                </c:pt>
                <c:pt idx="641">
                  <c:v>0.18448812349123767</c:v>
                </c:pt>
                <c:pt idx="642">
                  <c:v>0.172484514867141</c:v>
                </c:pt>
                <c:pt idx="643">
                  <c:v>0.17433912311978644</c:v>
                </c:pt>
                <c:pt idx="644">
                  <c:v>0.18026038930290933</c:v>
                </c:pt>
                <c:pt idx="645">
                  <c:v>0.17729075189757981</c:v>
                </c:pt>
                <c:pt idx="646">
                  <c:v>0.1709413742896039</c:v>
                </c:pt>
                <c:pt idx="647">
                  <c:v>0.18949963141373413</c:v>
                </c:pt>
                <c:pt idx="648">
                  <c:v>0.23513723966153791</c:v>
                </c:pt>
                <c:pt idx="649">
                  <c:v>0.26172718228695668</c:v>
                </c:pt>
                <c:pt idx="650">
                  <c:v>0.35476590518708206</c:v>
                </c:pt>
                <c:pt idx="651">
                  <c:v>0.40903717639368137</c:v>
                </c:pt>
                <c:pt idx="652">
                  <c:v>0.44437628196311441</c:v>
                </c:pt>
                <c:pt idx="653">
                  <c:v>0.48092496921297928</c:v>
                </c:pt>
                <c:pt idx="654">
                  <c:v>0.53957440662383682</c:v>
                </c:pt>
                <c:pt idx="655">
                  <c:v>0.54354064125381973</c:v>
                </c:pt>
                <c:pt idx="656">
                  <c:v>0.54444953263236373</c:v>
                </c:pt>
                <c:pt idx="657">
                  <c:v>0.54837599009184179</c:v>
                </c:pt>
                <c:pt idx="658">
                  <c:v>0.55413129525864591</c:v>
                </c:pt>
                <c:pt idx="659">
                  <c:v>0.55114811578115153</c:v>
                </c:pt>
                <c:pt idx="660">
                  <c:v>0.55759500226512249</c:v>
                </c:pt>
                <c:pt idx="661">
                  <c:v>0.5537560644017836</c:v>
                </c:pt>
                <c:pt idx="662">
                  <c:v>0.541816511387056</c:v>
                </c:pt>
                <c:pt idx="663">
                  <c:v>0.5409671951992201</c:v>
                </c:pt>
                <c:pt idx="664">
                  <c:v>0.53982389798545483</c:v>
                </c:pt>
                <c:pt idx="665">
                  <c:v>0.53243354635340079</c:v>
                </c:pt>
                <c:pt idx="666">
                  <c:v>0.51934474234093764</c:v>
                </c:pt>
                <c:pt idx="667">
                  <c:v>0.49849819749695368</c:v>
                </c:pt>
                <c:pt idx="668">
                  <c:v>0.4947489227218822</c:v>
                </c:pt>
                <c:pt idx="669">
                  <c:v>0.49884529636061348</c:v>
                </c:pt>
                <c:pt idx="670">
                  <c:v>0.48632675262797131</c:v>
                </c:pt>
                <c:pt idx="671">
                  <c:v>0.47536478562623879</c:v>
                </c:pt>
                <c:pt idx="672">
                  <c:v>0.45608629445470594</c:v>
                </c:pt>
                <c:pt idx="673">
                  <c:v>0.42695772084743305</c:v>
                </c:pt>
                <c:pt idx="674">
                  <c:v>0.37715823070891175</c:v>
                </c:pt>
                <c:pt idx="675">
                  <c:v>0.35581452312376782</c:v>
                </c:pt>
                <c:pt idx="676">
                  <c:v>0.31554611016143885</c:v>
                </c:pt>
                <c:pt idx="677">
                  <c:v>0.32065856658554254</c:v>
                </c:pt>
                <c:pt idx="678">
                  <c:v>0.3233379360508632</c:v>
                </c:pt>
                <c:pt idx="679">
                  <c:v>0.32481695586373605</c:v>
                </c:pt>
                <c:pt idx="680">
                  <c:v>0.31077554079674102</c:v>
                </c:pt>
                <c:pt idx="681">
                  <c:v>0.30462120522406455</c:v>
                </c:pt>
                <c:pt idx="682">
                  <c:v>0.30968080051193603</c:v>
                </c:pt>
                <c:pt idx="683">
                  <c:v>0.30865459827088504</c:v>
                </c:pt>
                <c:pt idx="684">
                  <c:v>0.28146023128568631</c:v>
                </c:pt>
                <c:pt idx="685">
                  <c:v>0.29873017263194385</c:v>
                </c:pt>
                <c:pt idx="686">
                  <c:v>0.31293418665061884</c:v>
                </c:pt>
                <c:pt idx="687">
                  <c:v>0.3144746013104795</c:v>
                </c:pt>
                <c:pt idx="688">
                  <c:v>0.30405623242780655</c:v>
                </c:pt>
                <c:pt idx="689">
                  <c:v>0.30459056837569792</c:v>
                </c:pt>
                <c:pt idx="690">
                  <c:v>0.29604600570307116</c:v>
                </c:pt>
                <c:pt idx="691">
                  <c:v>0.30193149607594161</c:v>
                </c:pt>
                <c:pt idx="692">
                  <c:v>0.29836614404190043</c:v>
                </c:pt>
                <c:pt idx="693">
                  <c:v>0.29783508820047039</c:v>
                </c:pt>
                <c:pt idx="694">
                  <c:v>0.32279180187351414</c:v>
                </c:pt>
                <c:pt idx="695">
                  <c:v>0.31587246588372647</c:v>
                </c:pt>
                <c:pt idx="696">
                  <c:v>0.31309004013925901</c:v>
                </c:pt>
                <c:pt idx="697">
                  <c:v>0.32432050446439531</c:v>
                </c:pt>
                <c:pt idx="698">
                  <c:v>0.32109688110012369</c:v>
                </c:pt>
                <c:pt idx="699">
                  <c:v>0.31413047734904764</c:v>
                </c:pt>
                <c:pt idx="700">
                  <c:v>0.3258553237489254</c:v>
                </c:pt>
                <c:pt idx="701">
                  <c:v>0.33783802292601212</c:v>
                </c:pt>
                <c:pt idx="702">
                  <c:v>0.3525183835356685</c:v>
                </c:pt>
                <c:pt idx="703">
                  <c:v>0.34758580055737748</c:v>
                </c:pt>
                <c:pt idx="704">
                  <c:v>0.34674142252922313</c:v>
                </c:pt>
                <c:pt idx="705">
                  <c:v>0.34842123047550239</c:v>
                </c:pt>
                <c:pt idx="706">
                  <c:v>0.34179703662089411</c:v>
                </c:pt>
                <c:pt idx="707">
                  <c:v>0.32870643423911372</c:v>
                </c:pt>
                <c:pt idx="708">
                  <c:v>0.32551010126386853</c:v>
                </c:pt>
                <c:pt idx="709">
                  <c:v>0.32021061517658594</c:v>
                </c:pt>
                <c:pt idx="710">
                  <c:v>0.32635459307414094</c:v>
                </c:pt>
                <c:pt idx="711">
                  <c:v>0.33254686596561867</c:v>
                </c:pt>
                <c:pt idx="712">
                  <c:v>0.32191814274313424</c:v>
                </c:pt>
                <c:pt idx="713">
                  <c:v>0.32270315803963129</c:v>
                </c:pt>
                <c:pt idx="714">
                  <c:v>0.31430162875489392</c:v>
                </c:pt>
                <c:pt idx="715">
                  <c:v>0.30432171944929293</c:v>
                </c:pt>
                <c:pt idx="716">
                  <c:v>0.30387791028036987</c:v>
                </c:pt>
                <c:pt idx="717">
                  <c:v>0.30383705098036018</c:v>
                </c:pt>
                <c:pt idx="718">
                  <c:v>0.30423806355459576</c:v>
                </c:pt>
                <c:pt idx="719">
                  <c:v>0.3101978676750628</c:v>
                </c:pt>
                <c:pt idx="720">
                  <c:v>0.31858632096857437</c:v>
                </c:pt>
                <c:pt idx="721">
                  <c:v>0.31884626725650178</c:v>
                </c:pt>
                <c:pt idx="722">
                  <c:v>0.32182586436376687</c:v>
                </c:pt>
                <c:pt idx="723">
                  <c:v>0.32150848305454943</c:v>
                </c:pt>
                <c:pt idx="724">
                  <c:v>0.30778557234807424</c:v>
                </c:pt>
                <c:pt idx="725">
                  <c:v>0.31100275765118518</c:v>
                </c:pt>
                <c:pt idx="726">
                  <c:v>0.30949462305925191</c:v>
                </c:pt>
                <c:pt idx="727">
                  <c:v>0.2941468450646138</c:v>
                </c:pt>
                <c:pt idx="728">
                  <c:v>0.29493812848323647</c:v>
                </c:pt>
                <c:pt idx="729">
                  <c:v>0.29205123939515337</c:v>
                </c:pt>
                <c:pt idx="730">
                  <c:v>0.26590026509038417</c:v>
                </c:pt>
                <c:pt idx="731">
                  <c:v>0.26592009296338609</c:v>
                </c:pt>
                <c:pt idx="732">
                  <c:v>0.25173204955278772</c:v>
                </c:pt>
                <c:pt idx="733">
                  <c:v>0.24836607651945242</c:v>
                </c:pt>
                <c:pt idx="734">
                  <c:v>0.24836614900020917</c:v>
                </c:pt>
                <c:pt idx="735">
                  <c:v>0.24120272917797045</c:v>
                </c:pt>
                <c:pt idx="736">
                  <c:v>0.24196425482715314</c:v>
                </c:pt>
                <c:pt idx="737">
                  <c:v>0.24348945184479906</c:v>
                </c:pt>
                <c:pt idx="738">
                  <c:v>0.24392197280154707</c:v>
                </c:pt>
                <c:pt idx="739">
                  <c:v>0.2761234501742007</c:v>
                </c:pt>
                <c:pt idx="740">
                  <c:v>0.27262848773276649</c:v>
                </c:pt>
                <c:pt idx="741">
                  <c:v>0.27233678307262893</c:v>
                </c:pt>
                <c:pt idx="742">
                  <c:v>0.27859600259961825</c:v>
                </c:pt>
                <c:pt idx="743">
                  <c:v>0.27826172528636062</c:v>
                </c:pt>
                <c:pt idx="744">
                  <c:v>0.27597559536659771</c:v>
                </c:pt>
                <c:pt idx="745">
                  <c:v>0.27752648411930175</c:v>
                </c:pt>
                <c:pt idx="746">
                  <c:v>0.27315687059688498</c:v>
                </c:pt>
                <c:pt idx="747">
                  <c:v>0.29402953173803548</c:v>
                </c:pt>
                <c:pt idx="748">
                  <c:v>0.2936798850791727</c:v>
                </c:pt>
                <c:pt idx="749">
                  <c:v>0.28313126921976811</c:v>
                </c:pt>
                <c:pt idx="750">
                  <c:v>0.27734468777563404</c:v>
                </c:pt>
                <c:pt idx="751">
                  <c:v>0.27489009224754668</c:v>
                </c:pt>
                <c:pt idx="752">
                  <c:v>0.28739760824533267</c:v>
                </c:pt>
                <c:pt idx="753">
                  <c:v>0.28902750443564612</c:v>
                </c:pt>
                <c:pt idx="754">
                  <c:v>0.29322246157332199</c:v>
                </c:pt>
                <c:pt idx="755">
                  <c:v>0.29160139867210028</c:v>
                </c:pt>
                <c:pt idx="756">
                  <c:v>0.29385482699104337</c:v>
                </c:pt>
                <c:pt idx="757">
                  <c:v>0.29245273430203689</c:v>
                </c:pt>
                <c:pt idx="758">
                  <c:v>0.28399032702698879</c:v>
                </c:pt>
                <c:pt idx="759">
                  <c:v>0.28320365486101967</c:v>
                </c:pt>
                <c:pt idx="760">
                  <c:v>0.28369184145714854</c:v>
                </c:pt>
                <c:pt idx="761">
                  <c:v>0.28200800091249623</c:v>
                </c:pt>
                <c:pt idx="762">
                  <c:v>0.28398002376315507</c:v>
                </c:pt>
                <c:pt idx="763">
                  <c:v>0.29192181984592858</c:v>
                </c:pt>
                <c:pt idx="764">
                  <c:v>0.29354782796335316</c:v>
                </c:pt>
                <c:pt idx="765">
                  <c:v>0.29349972947533698</c:v>
                </c:pt>
                <c:pt idx="766">
                  <c:v>0.2926516102700788</c:v>
                </c:pt>
                <c:pt idx="767">
                  <c:v>0.29231484257872614</c:v>
                </c:pt>
                <c:pt idx="768">
                  <c:v>0.28984175589626082</c:v>
                </c:pt>
                <c:pt idx="769">
                  <c:v>0.2795836368816571</c:v>
                </c:pt>
                <c:pt idx="770">
                  <c:v>0.27590149257659702</c:v>
                </c:pt>
                <c:pt idx="771">
                  <c:v>0.27442704536369134</c:v>
                </c:pt>
                <c:pt idx="772">
                  <c:v>0.26212700088783736</c:v>
                </c:pt>
                <c:pt idx="773">
                  <c:v>0.27206598772779328</c:v>
                </c:pt>
                <c:pt idx="774">
                  <c:v>0.27286563428425503</c:v>
                </c:pt>
                <c:pt idx="775">
                  <c:v>0.26546244212844033</c:v>
                </c:pt>
                <c:pt idx="776">
                  <c:v>0.2689942208198482</c:v>
                </c:pt>
                <c:pt idx="777">
                  <c:v>0.24733236067001874</c:v>
                </c:pt>
                <c:pt idx="778">
                  <c:v>0.2624351309014985</c:v>
                </c:pt>
                <c:pt idx="779">
                  <c:v>0.26198518727904041</c:v>
                </c:pt>
                <c:pt idx="780">
                  <c:v>0.25859292872311929</c:v>
                </c:pt>
                <c:pt idx="781">
                  <c:v>0.25754831286146979</c:v>
                </c:pt>
                <c:pt idx="782">
                  <c:v>0.26939512357808965</c:v>
                </c:pt>
                <c:pt idx="783">
                  <c:v>0.27347232830726642</c:v>
                </c:pt>
                <c:pt idx="784">
                  <c:v>0.27793976993921354</c:v>
                </c:pt>
                <c:pt idx="785">
                  <c:v>0.27808234710782687</c:v>
                </c:pt>
                <c:pt idx="786">
                  <c:v>0.27835388460935812</c:v>
                </c:pt>
                <c:pt idx="787">
                  <c:v>0.27123005266996014</c:v>
                </c:pt>
                <c:pt idx="788">
                  <c:v>0.29858793045927934</c:v>
                </c:pt>
                <c:pt idx="789">
                  <c:v>0.29887062385956908</c:v>
                </c:pt>
                <c:pt idx="790">
                  <c:v>0.3024094513910684</c:v>
                </c:pt>
                <c:pt idx="791">
                  <c:v>0.30258647874239081</c:v>
                </c:pt>
                <c:pt idx="792">
                  <c:v>0.30224131859025172</c:v>
                </c:pt>
                <c:pt idx="793">
                  <c:v>0.30145597225753179</c:v>
                </c:pt>
                <c:pt idx="794">
                  <c:v>0.29986027827632</c:v>
                </c:pt>
                <c:pt idx="795">
                  <c:v>0.29977934396181588</c:v>
                </c:pt>
                <c:pt idx="796">
                  <c:v>0.2982177777166633</c:v>
                </c:pt>
                <c:pt idx="797">
                  <c:v>0.29569650527032154</c:v>
                </c:pt>
                <c:pt idx="798">
                  <c:v>0.30122982066060627</c:v>
                </c:pt>
                <c:pt idx="799">
                  <c:v>0.29034758345090822</c:v>
                </c:pt>
                <c:pt idx="800">
                  <c:v>0.29122064051912194</c:v>
                </c:pt>
                <c:pt idx="801">
                  <c:v>0.27729318989797269</c:v>
                </c:pt>
                <c:pt idx="802">
                  <c:v>0.28125927467480538</c:v>
                </c:pt>
                <c:pt idx="803">
                  <c:v>0.27094425287136886</c:v>
                </c:pt>
                <c:pt idx="804">
                  <c:v>0.27290997217212171</c:v>
                </c:pt>
                <c:pt idx="805">
                  <c:v>0.30372575946902469</c:v>
                </c:pt>
                <c:pt idx="806">
                  <c:v>0.30207405115986435</c:v>
                </c:pt>
                <c:pt idx="807">
                  <c:v>0.31647621195767228</c:v>
                </c:pt>
                <c:pt idx="808">
                  <c:v>0.31271905566897928</c:v>
                </c:pt>
                <c:pt idx="809">
                  <c:v>0.30984037855624436</c:v>
                </c:pt>
                <c:pt idx="810">
                  <c:v>0.31133904767302906</c:v>
                </c:pt>
                <c:pt idx="811">
                  <c:v>0.31077333044288785</c:v>
                </c:pt>
                <c:pt idx="812">
                  <c:v>0.28839399283601291</c:v>
                </c:pt>
                <c:pt idx="813">
                  <c:v>0.28654381551918195</c:v>
                </c:pt>
                <c:pt idx="814">
                  <c:v>0.27785270845862808</c:v>
                </c:pt>
                <c:pt idx="815">
                  <c:v>0.27803489173225243</c:v>
                </c:pt>
                <c:pt idx="816">
                  <c:v>0.27597708001433435</c:v>
                </c:pt>
                <c:pt idx="817">
                  <c:v>0.27801921553762915</c:v>
                </c:pt>
                <c:pt idx="818">
                  <c:v>0.25096900643032721</c:v>
                </c:pt>
                <c:pt idx="819">
                  <c:v>0.24952747042691237</c:v>
                </c:pt>
                <c:pt idx="820">
                  <c:v>0.24308939251543002</c:v>
                </c:pt>
                <c:pt idx="821">
                  <c:v>0.26975957541297968</c:v>
                </c:pt>
                <c:pt idx="822">
                  <c:v>0.28336652376896482</c:v>
                </c:pt>
                <c:pt idx="823">
                  <c:v>0.2942741785070801</c:v>
                </c:pt>
                <c:pt idx="824">
                  <c:v>0.31097092836030021</c:v>
                </c:pt>
                <c:pt idx="825">
                  <c:v>0.31815418443457383</c:v>
                </c:pt>
                <c:pt idx="826">
                  <c:v>0.32060338169985325</c:v>
                </c:pt>
                <c:pt idx="827">
                  <c:v>0.32575046538094804</c:v>
                </c:pt>
                <c:pt idx="828">
                  <c:v>0.32079313393864478</c:v>
                </c:pt>
                <c:pt idx="829">
                  <c:v>0.32205484180092275</c:v>
                </c:pt>
                <c:pt idx="830">
                  <c:v>0.32261225333625337</c:v>
                </c:pt>
                <c:pt idx="831">
                  <c:v>0.33552039237929715</c:v>
                </c:pt>
                <c:pt idx="832">
                  <c:v>0.33327022425969222</c:v>
                </c:pt>
                <c:pt idx="833">
                  <c:v>0.34933691681268048</c:v>
                </c:pt>
                <c:pt idx="834">
                  <c:v>0.3459866084099964</c:v>
                </c:pt>
                <c:pt idx="835">
                  <c:v>0.32227726488386133</c:v>
                </c:pt>
                <c:pt idx="836">
                  <c:v>0.32949617949187832</c:v>
                </c:pt>
                <c:pt idx="837">
                  <c:v>0.3178649197595495</c:v>
                </c:pt>
                <c:pt idx="838">
                  <c:v>0.30952934644170649</c:v>
                </c:pt>
                <c:pt idx="839">
                  <c:v>0.31142454963410687</c:v>
                </c:pt>
                <c:pt idx="840">
                  <c:v>0.30956584817469768</c:v>
                </c:pt>
                <c:pt idx="841">
                  <c:v>0.30872125511135895</c:v>
                </c:pt>
                <c:pt idx="842">
                  <c:v>0.31847737691719669</c:v>
                </c:pt>
                <c:pt idx="843">
                  <c:v>0.31987881906724486</c:v>
                </c:pt>
                <c:pt idx="844">
                  <c:v>0.31974011769267496</c:v>
                </c:pt>
                <c:pt idx="845">
                  <c:v>0.32156492479332588</c:v>
                </c:pt>
                <c:pt idx="846">
                  <c:v>0.32921174889302207</c:v>
                </c:pt>
                <c:pt idx="847">
                  <c:v>0.34026259539343345</c:v>
                </c:pt>
                <c:pt idx="848">
                  <c:v>0.34045225487355457</c:v>
                </c:pt>
                <c:pt idx="849">
                  <c:v>0.34467610547077465</c:v>
                </c:pt>
                <c:pt idx="850">
                  <c:v>0.34458085928201987</c:v>
                </c:pt>
                <c:pt idx="851">
                  <c:v>0.32227545292020671</c:v>
                </c:pt>
                <c:pt idx="852">
                  <c:v>0.31340260037294165</c:v>
                </c:pt>
                <c:pt idx="853">
                  <c:v>0.29533344353656354</c:v>
                </c:pt>
                <c:pt idx="854">
                  <c:v>0.28440307839082124</c:v>
                </c:pt>
                <c:pt idx="855">
                  <c:v>0.27716429430293504</c:v>
                </c:pt>
                <c:pt idx="856">
                  <c:v>0.29341902080330834</c:v>
                </c:pt>
                <c:pt idx="857">
                  <c:v>0.29145726812054112</c:v>
                </c:pt>
                <c:pt idx="858">
                  <c:v>0.29215251428705657</c:v>
                </c:pt>
                <c:pt idx="859">
                  <c:v>0.30085637989753838</c:v>
                </c:pt>
                <c:pt idx="860">
                  <c:v>0.30245586048391931</c:v>
                </c:pt>
                <c:pt idx="861">
                  <c:v>0.28438825515846161</c:v>
                </c:pt>
                <c:pt idx="862">
                  <c:v>0.28609451651233192</c:v>
                </c:pt>
                <c:pt idx="863">
                  <c:v>0.26434342303228175</c:v>
                </c:pt>
                <c:pt idx="864">
                  <c:v>0.28014695680266233</c:v>
                </c:pt>
                <c:pt idx="865">
                  <c:v>0.28077852087168487</c:v>
                </c:pt>
                <c:pt idx="866">
                  <c:v>0.27153144630544623</c:v>
                </c:pt>
                <c:pt idx="867">
                  <c:v>0.27613389356650525</c:v>
                </c:pt>
                <c:pt idx="868">
                  <c:v>0.2918424941041764</c:v>
                </c:pt>
                <c:pt idx="869">
                  <c:v>0.29130808690652354</c:v>
                </c:pt>
                <c:pt idx="870">
                  <c:v>0.29130975082454175</c:v>
                </c:pt>
                <c:pt idx="871">
                  <c:v>0.29123462436509479</c:v>
                </c:pt>
                <c:pt idx="872">
                  <c:v>0.31308149132440499</c:v>
                </c:pt>
                <c:pt idx="873">
                  <c:v>0.31707827993864585</c:v>
                </c:pt>
                <c:pt idx="874">
                  <c:v>0.32024872534994586</c:v>
                </c:pt>
                <c:pt idx="875">
                  <c:v>0.31883164735477199</c:v>
                </c:pt>
                <c:pt idx="876">
                  <c:v>0.31870618897831299</c:v>
                </c:pt>
                <c:pt idx="877">
                  <c:v>0.3058401252360875</c:v>
                </c:pt>
                <c:pt idx="878">
                  <c:v>0.30926874755929579</c:v>
                </c:pt>
                <c:pt idx="879">
                  <c:v>0.30335628796268971</c:v>
                </c:pt>
                <c:pt idx="880">
                  <c:v>0.30600676413148215</c:v>
                </c:pt>
                <c:pt idx="881">
                  <c:v>0.31049884144572193</c:v>
                </c:pt>
                <c:pt idx="882">
                  <c:v>0.31009687211741011</c:v>
                </c:pt>
                <c:pt idx="883">
                  <c:v>0.31033656843792007</c:v>
                </c:pt>
                <c:pt idx="884">
                  <c:v>0.30385276530598782</c:v>
                </c:pt>
                <c:pt idx="885">
                  <c:v>0.30649051082384376</c:v>
                </c:pt>
                <c:pt idx="886">
                  <c:v>0.31213382491681235</c:v>
                </c:pt>
                <c:pt idx="887">
                  <c:v>0.3179696808637546</c:v>
                </c:pt>
                <c:pt idx="888">
                  <c:v>0.31817870918289815</c:v>
                </c:pt>
                <c:pt idx="889">
                  <c:v>0.31521577387173255</c:v>
                </c:pt>
                <c:pt idx="890">
                  <c:v>0.32226143547545144</c:v>
                </c:pt>
                <c:pt idx="891">
                  <c:v>0.34894789200095661</c:v>
                </c:pt>
                <c:pt idx="892">
                  <c:v>0.3493485612469801</c:v>
                </c:pt>
                <c:pt idx="893">
                  <c:v>0.34912556675123829</c:v>
                </c:pt>
                <c:pt idx="894">
                  <c:v>0.34060658485553363</c:v>
                </c:pt>
                <c:pt idx="895">
                  <c:v>0.3417400270547658</c:v>
                </c:pt>
                <c:pt idx="896">
                  <c:v>0.34389980392747493</c:v>
                </c:pt>
                <c:pt idx="897">
                  <c:v>0.34480109169530665</c:v>
                </c:pt>
                <c:pt idx="898">
                  <c:v>0.33404758829661735</c:v>
                </c:pt>
                <c:pt idx="899">
                  <c:v>0.33338546151106452</c:v>
                </c:pt>
                <c:pt idx="900">
                  <c:v>0.3395621688940117</c:v>
                </c:pt>
                <c:pt idx="901">
                  <c:v>0.33988721777717112</c:v>
                </c:pt>
                <c:pt idx="902">
                  <c:v>0.31520895207440763</c:v>
                </c:pt>
                <c:pt idx="903">
                  <c:v>0.30449639525507544</c:v>
                </c:pt>
                <c:pt idx="904">
                  <c:v>0.29785312932667884</c:v>
                </c:pt>
                <c:pt idx="905">
                  <c:v>0.32055798858772522</c:v>
                </c:pt>
                <c:pt idx="906">
                  <c:v>0.3201773739315526</c:v>
                </c:pt>
                <c:pt idx="907">
                  <c:v>0.32970149165897256</c:v>
                </c:pt>
                <c:pt idx="908">
                  <c:v>0.32585477264469603</c:v>
                </c:pt>
                <c:pt idx="909">
                  <c:v>0.32868928148585752</c:v>
                </c:pt>
                <c:pt idx="910">
                  <c:v>0.33820860690066229</c:v>
                </c:pt>
                <c:pt idx="911">
                  <c:v>0.33429699974375987</c:v>
                </c:pt>
                <c:pt idx="912">
                  <c:v>0.3452362593296045</c:v>
                </c:pt>
                <c:pt idx="913">
                  <c:v>0.34663950391364384</c:v>
                </c:pt>
                <c:pt idx="914">
                  <c:v>0.34544074324526691</c:v>
                </c:pt>
                <c:pt idx="915">
                  <c:v>0.33656265068452396</c:v>
                </c:pt>
                <c:pt idx="916">
                  <c:v>0.32237639112609195</c:v>
                </c:pt>
                <c:pt idx="917">
                  <c:v>0.31968529337824236</c:v>
                </c:pt>
                <c:pt idx="918">
                  <c:v>0.34956112366284819</c:v>
                </c:pt>
                <c:pt idx="919">
                  <c:v>0.34279105139618382</c:v>
                </c:pt>
                <c:pt idx="920">
                  <c:v>0.33541018730710542</c:v>
                </c:pt>
                <c:pt idx="921">
                  <c:v>0.30977295524135084</c:v>
                </c:pt>
                <c:pt idx="922">
                  <c:v>0.30987020783454056</c:v>
                </c:pt>
                <c:pt idx="923">
                  <c:v>0.30936013702691045</c:v>
                </c:pt>
                <c:pt idx="924">
                  <c:v>0.30941699128348304</c:v>
                </c:pt>
                <c:pt idx="925">
                  <c:v>0.30847421732098801</c:v>
                </c:pt>
                <c:pt idx="926">
                  <c:v>0.2992565477669939</c:v>
                </c:pt>
                <c:pt idx="927">
                  <c:v>0.2950345402061551</c:v>
                </c:pt>
                <c:pt idx="928">
                  <c:v>0.2961041790787437</c:v>
                </c:pt>
                <c:pt idx="929">
                  <c:v>0.29630632611043384</c:v>
                </c:pt>
                <c:pt idx="930">
                  <c:v>0.29234997897148862</c:v>
                </c:pt>
                <c:pt idx="931">
                  <c:v>0.29519174638012635</c:v>
                </c:pt>
                <c:pt idx="932">
                  <c:v>0.3157040894186865</c:v>
                </c:pt>
                <c:pt idx="933">
                  <c:v>0.31574110100769581</c:v>
                </c:pt>
                <c:pt idx="934">
                  <c:v>0.32665807276806663</c:v>
                </c:pt>
                <c:pt idx="935">
                  <c:v>0.30814750880032421</c:v>
                </c:pt>
                <c:pt idx="936">
                  <c:v>0.30116526810345079</c:v>
                </c:pt>
                <c:pt idx="937">
                  <c:v>0.29420704921372864</c:v>
                </c:pt>
                <c:pt idx="938">
                  <c:v>0.29434925401786066</c:v>
                </c:pt>
                <c:pt idx="939">
                  <c:v>0.29699672702012481</c:v>
                </c:pt>
                <c:pt idx="940">
                  <c:v>0.29650405260477464</c:v>
                </c:pt>
                <c:pt idx="941">
                  <c:v>0.29578034284365823</c:v>
                </c:pt>
                <c:pt idx="942">
                  <c:v>0.28519643717098186</c:v>
                </c:pt>
                <c:pt idx="943">
                  <c:v>0.29088213025088744</c:v>
                </c:pt>
                <c:pt idx="944">
                  <c:v>0.29335303045180883</c:v>
                </c:pt>
                <c:pt idx="945">
                  <c:v>0.28859355865010877</c:v>
                </c:pt>
                <c:pt idx="946">
                  <c:v>0.28250963993883804</c:v>
                </c:pt>
                <c:pt idx="947">
                  <c:v>0.29692863161541672</c:v>
                </c:pt>
                <c:pt idx="948">
                  <c:v>0.28426566126579406</c:v>
                </c:pt>
                <c:pt idx="949">
                  <c:v>0.28650075073084247</c:v>
                </c:pt>
                <c:pt idx="950">
                  <c:v>0.28730051645968874</c:v>
                </c:pt>
                <c:pt idx="951">
                  <c:v>0.28765897226828097</c:v>
                </c:pt>
                <c:pt idx="952">
                  <c:v>0.29394352766207993</c:v>
                </c:pt>
                <c:pt idx="953">
                  <c:v>0.30000947166741671</c:v>
                </c:pt>
                <c:pt idx="954">
                  <c:v>0.30170649233142743</c:v>
                </c:pt>
                <c:pt idx="955">
                  <c:v>0.29937478995140998</c:v>
                </c:pt>
                <c:pt idx="956">
                  <c:v>0.29704443742355596</c:v>
                </c:pt>
                <c:pt idx="957">
                  <c:v>0.2925701844424865</c:v>
                </c:pt>
                <c:pt idx="958">
                  <c:v>0.29595929408405125</c:v>
                </c:pt>
                <c:pt idx="959">
                  <c:v>0.29944721144291847</c:v>
                </c:pt>
                <c:pt idx="960">
                  <c:v>0.29833414808700398</c:v>
                </c:pt>
                <c:pt idx="961">
                  <c:v>0.29751260070287383</c:v>
                </c:pt>
                <c:pt idx="962">
                  <c:v>0.28367803334074998</c:v>
                </c:pt>
                <c:pt idx="963">
                  <c:v>0.28520877164405006</c:v>
                </c:pt>
                <c:pt idx="964">
                  <c:v>0.27409026798187142</c:v>
                </c:pt>
                <c:pt idx="965">
                  <c:v>0.2700255882398015</c:v>
                </c:pt>
                <c:pt idx="966">
                  <c:v>0.27035858953548658</c:v>
                </c:pt>
                <c:pt idx="967">
                  <c:v>0.26187786022891196</c:v>
                </c:pt>
                <c:pt idx="968">
                  <c:v>0.26851233389912382</c:v>
                </c:pt>
                <c:pt idx="969">
                  <c:v>0.25953693322777099</c:v>
                </c:pt>
                <c:pt idx="970">
                  <c:v>0.27545318418792231</c:v>
                </c:pt>
                <c:pt idx="971">
                  <c:v>0.27674341904807837</c:v>
                </c:pt>
                <c:pt idx="972">
                  <c:v>0.27632275547066953</c:v>
                </c:pt>
                <c:pt idx="973">
                  <c:v>0.27655806491810481</c:v>
                </c:pt>
                <c:pt idx="974">
                  <c:v>0.27447284599803151</c:v>
                </c:pt>
                <c:pt idx="975">
                  <c:v>0.27446193288560328</c:v>
                </c:pt>
                <c:pt idx="976">
                  <c:v>0.28579670197079066</c:v>
                </c:pt>
                <c:pt idx="977">
                  <c:v>0.26728703883816918</c:v>
                </c:pt>
                <c:pt idx="978">
                  <c:v>0.25461888798681093</c:v>
                </c:pt>
                <c:pt idx="979">
                  <c:v>0.24754870951664693</c:v>
                </c:pt>
                <c:pt idx="980">
                  <c:v>0.25560499921829838</c:v>
                </c:pt>
                <c:pt idx="981">
                  <c:v>0.25281301695790148</c:v>
                </c:pt>
                <c:pt idx="982">
                  <c:v>0.25359052056628256</c:v>
                </c:pt>
                <c:pt idx="983">
                  <c:v>0.26574558753228694</c:v>
                </c:pt>
                <c:pt idx="984">
                  <c:v>0.26032316311960702</c:v>
                </c:pt>
                <c:pt idx="985">
                  <c:v>0.26945992471787189</c:v>
                </c:pt>
                <c:pt idx="986">
                  <c:v>0.28146865035870788</c:v>
                </c:pt>
                <c:pt idx="987">
                  <c:v>0.28487936749280834</c:v>
                </c:pt>
                <c:pt idx="988">
                  <c:v>0.31373617134328458</c:v>
                </c:pt>
                <c:pt idx="989">
                  <c:v>0.31604624306359885</c:v>
                </c:pt>
                <c:pt idx="990">
                  <c:v>0.31885066417232172</c:v>
                </c:pt>
                <c:pt idx="991">
                  <c:v>0.31863608182394071</c:v>
                </c:pt>
                <c:pt idx="992">
                  <c:v>0.31677664114568388</c:v>
                </c:pt>
                <c:pt idx="993">
                  <c:v>0.32273772597860018</c:v>
                </c:pt>
                <c:pt idx="994">
                  <c:v>0.32757914044595471</c:v>
                </c:pt>
                <c:pt idx="995">
                  <c:v>0.33235476083316506</c:v>
                </c:pt>
                <c:pt idx="996">
                  <c:v>0.33506485382934281</c:v>
                </c:pt>
                <c:pt idx="997">
                  <c:v>0.33544290737533428</c:v>
                </c:pt>
                <c:pt idx="998">
                  <c:v>0.32813283812129596</c:v>
                </c:pt>
                <c:pt idx="999">
                  <c:v>0.33021658938905396</c:v>
                </c:pt>
                <c:pt idx="1000">
                  <c:v>0.30862063649632804</c:v>
                </c:pt>
                <c:pt idx="1001">
                  <c:v>0.30807379733489498</c:v>
                </c:pt>
                <c:pt idx="1002">
                  <c:v>0.3077259039261393</c:v>
                </c:pt>
                <c:pt idx="1003">
                  <c:v>0.30190295427617897</c:v>
                </c:pt>
                <c:pt idx="1004">
                  <c:v>0.3018191812635812</c:v>
                </c:pt>
                <c:pt idx="1005">
                  <c:v>0.32033334633540139</c:v>
                </c:pt>
                <c:pt idx="1006">
                  <c:v>0.30775922887352752</c:v>
                </c:pt>
                <c:pt idx="1007">
                  <c:v>0.30913189345291225</c:v>
                </c:pt>
                <c:pt idx="1008">
                  <c:v>0.32252123922259213</c:v>
                </c:pt>
                <c:pt idx="1009">
                  <c:v>0.32314616854079548</c:v>
                </c:pt>
                <c:pt idx="1010">
                  <c:v>0.30794865888583395</c:v>
                </c:pt>
                <c:pt idx="1011">
                  <c:v>0.30547358928424334</c:v>
                </c:pt>
                <c:pt idx="1012">
                  <c:v>0.32025457191143242</c:v>
                </c:pt>
                <c:pt idx="1013">
                  <c:v>0.31103996553397834</c:v>
                </c:pt>
                <c:pt idx="1014">
                  <c:v>0.30831322307429126</c:v>
                </c:pt>
                <c:pt idx="1015">
                  <c:v>0.30243382779310235</c:v>
                </c:pt>
                <c:pt idx="1016">
                  <c:v>0.29096485590834675</c:v>
                </c:pt>
                <c:pt idx="1017">
                  <c:v>0.30508530374901771</c:v>
                </c:pt>
                <c:pt idx="1018">
                  <c:v>0.28740096105260965</c:v>
                </c:pt>
                <c:pt idx="1019">
                  <c:v>0.28129012950677657</c:v>
                </c:pt>
                <c:pt idx="1020">
                  <c:v>0.28225247757080552</c:v>
                </c:pt>
                <c:pt idx="1021">
                  <c:v>0.29283948095240048</c:v>
                </c:pt>
                <c:pt idx="1022">
                  <c:v>0.30639224429772643</c:v>
                </c:pt>
                <c:pt idx="1023">
                  <c:v>0.28881009758976556</c:v>
                </c:pt>
                <c:pt idx="1024">
                  <c:v>0.28973412354937811</c:v>
                </c:pt>
                <c:pt idx="1025">
                  <c:v>0.28815629961853556</c:v>
                </c:pt>
                <c:pt idx="1026">
                  <c:v>0.2941322210365202</c:v>
                </c:pt>
                <c:pt idx="1027">
                  <c:v>0.29414990136147962</c:v>
                </c:pt>
                <c:pt idx="1028">
                  <c:v>0.29531034246637788</c:v>
                </c:pt>
                <c:pt idx="1029">
                  <c:v>0.29584406011653164</c:v>
                </c:pt>
                <c:pt idx="1030">
                  <c:v>0.29839334917933963</c:v>
                </c:pt>
                <c:pt idx="1031">
                  <c:v>0.30659925929347287</c:v>
                </c:pt>
                <c:pt idx="1032">
                  <c:v>0.32058298060052182</c:v>
                </c:pt>
                <c:pt idx="1033">
                  <c:v>0.32085134405736349</c:v>
                </c:pt>
                <c:pt idx="1034">
                  <c:v>0.32214725198307748</c:v>
                </c:pt>
                <c:pt idx="1035">
                  <c:v>0.30708196976913182</c:v>
                </c:pt>
                <c:pt idx="1036">
                  <c:v>0.30956885569056253</c:v>
                </c:pt>
                <c:pt idx="1037">
                  <c:v>0.30853576591327952</c:v>
                </c:pt>
                <c:pt idx="1038">
                  <c:v>0.29111131157411008</c:v>
                </c:pt>
                <c:pt idx="1039">
                  <c:v>0.29924467006096656</c:v>
                </c:pt>
                <c:pt idx="1040">
                  <c:v>0.30981968406761845</c:v>
                </c:pt>
                <c:pt idx="1041">
                  <c:v>0.34201094949560007</c:v>
                </c:pt>
                <c:pt idx="1042">
                  <c:v>0.36097596299413065</c:v>
                </c:pt>
                <c:pt idx="1043">
                  <c:v>0.38797129720144963</c:v>
                </c:pt>
                <c:pt idx="1044">
                  <c:v>0.42772737209978118</c:v>
                </c:pt>
                <c:pt idx="1045">
                  <c:v>0.44323063353471198</c:v>
                </c:pt>
                <c:pt idx="1046">
                  <c:v>0.47253408039669886</c:v>
                </c:pt>
                <c:pt idx="1047">
                  <c:v>0.47202916959588187</c:v>
                </c:pt>
                <c:pt idx="1048">
                  <c:v>0.48641918818203206</c:v>
                </c:pt>
                <c:pt idx="1049">
                  <c:v>0.50434514352314341</c:v>
                </c:pt>
                <c:pt idx="1050">
                  <c:v>0.5202590800812269</c:v>
                </c:pt>
                <c:pt idx="1051">
                  <c:v>0.5283743784847551</c:v>
                </c:pt>
                <c:pt idx="1052">
                  <c:v>0.54750981486977035</c:v>
                </c:pt>
                <c:pt idx="1053">
                  <c:v>0.54958876673351575</c:v>
                </c:pt>
                <c:pt idx="1054">
                  <c:v>0.55899185622836944</c:v>
                </c:pt>
                <c:pt idx="1055">
                  <c:v>0.56219297323144835</c:v>
                </c:pt>
                <c:pt idx="1056">
                  <c:v>0.55958068634536862</c:v>
                </c:pt>
                <c:pt idx="1057">
                  <c:v>0.55736176196081033</c:v>
                </c:pt>
                <c:pt idx="1058">
                  <c:v>0.54939333342250007</c:v>
                </c:pt>
                <c:pt idx="1059">
                  <c:v>0.54790102025015941</c:v>
                </c:pt>
                <c:pt idx="1060">
                  <c:v>0.54784460918202771</c:v>
                </c:pt>
                <c:pt idx="1061">
                  <c:v>0.5221085689753151</c:v>
                </c:pt>
                <c:pt idx="1062">
                  <c:v>0.48280150225622559</c:v>
                </c:pt>
                <c:pt idx="1063">
                  <c:v>0.45982520431459734</c:v>
                </c:pt>
                <c:pt idx="1064">
                  <c:v>0.42943678322099149</c:v>
                </c:pt>
                <c:pt idx="1065">
                  <c:v>0.40329417647952975</c:v>
                </c:pt>
                <c:pt idx="1066">
                  <c:v>0.35678966649540483</c:v>
                </c:pt>
                <c:pt idx="1067">
                  <c:v>0.32316370138760653</c:v>
                </c:pt>
                <c:pt idx="1068">
                  <c:v>0.28221507930091699</c:v>
                </c:pt>
                <c:pt idx="1069">
                  <c:v>0.14694546498333716</c:v>
                </c:pt>
                <c:pt idx="1070">
                  <c:v>0.11579672333666011</c:v>
                </c:pt>
                <c:pt idx="1071">
                  <c:v>0.1211492690858663</c:v>
                </c:pt>
                <c:pt idx="1072">
                  <c:v>0.12159090746773253</c:v>
                </c:pt>
                <c:pt idx="1073">
                  <c:v>0.13992829467139395</c:v>
                </c:pt>
                <c:pt idx="1074">
                  <c:v>0.14102877744958928</c:v>
                </c:pt>
                <c:pt idx="1075">
                  <c:v>0.15315835619523607</c:v>
                </c:pt>
                <c:pt idx="1076">
                  <c:v>0.16131708980082837</c:v>
                </c:pt>
                <c:pt idx="1077">
                  <c:v>0.16264831298746443</c:v>
                </c:pt>
                <c:pt idx="1078">
                  <c:v>0.16212974706283056</c:v>
                </c:pt>
                <c:pt idx="1079">
                  <c:v>0.16291470009402984</c:v>
                </c:pt>
                <c:pt idx="1080">
                  <c:v>0.16683086654476259</c:v>
                </c:pt>
                <c:pt idx="1081">
                  <c:v>0.16591459560401645</c:v>
                </c:pt>
                <c:pt idx="1082">
                  <c:v>0.16870813245843394</c:v>
                </c:pt>
                <c:pt idx="1083">
                  <c:v>0.18066521910105279</c:v>
                </c:pt>
                <c:pt idx="1084">
                  <c:v>0.18141224812480186</c:v>
                </c:pt>
                <c:pt idx="1085">
                  <c:v>0.34178700340390999</c:v>
                </c:pt>
                <c:pt idx="1086">
                  <c:v>0.42258321578841712</c:v>
                </c:pt>
                <c:pt idx="1087">
                  <c:v>0.4608472917875383</c:v>
                </c:pt>
                <c:pt idx="1088">
                  <c:v>0.49855935379568328</c:v>
                </c:pt>
                <c:pt idx="1089">
                  <c:v>0.51216689905936363</c:v>
                </c:pt>
                <c:pt idx="1090">
                  <c:v>0.54918366045144862</c:v>
                </c:pt>
                <c:pt idx="1091">
                  <c:v>0.60465027706501717</c:v>
                </c:pt>
                <c:pt idx="1092">
                  <c:v>0.63028766298954164</c:v>
                </c:pt>
                <c:pt idx="1093">
                  <c:v>0.65110032380164384</c:v>
                </c:pt>
                <c:pt idx="1094">
                  <c:v>0.68296128653894528</c:v>
                </c:pt>
                <c:pt idx="1095">
                  <c:v>0.6997388532288229</c:v>
                </c:pt>
                <c:pt idx="1096">
                  <c:v>0.73073140820090066</c:v>
                </c:pt>
                <c:pt idx="1097">
                  <c:v>0.72432322090350132</c:v>
                </c:pt>
                <c:pt idx="1098">
                  <c:v>0.72610364413605766</c:v>
                </c:pt>
                <c:pt idx="1099">
                  <c:v>0.71903847646358132</c:v>
                </c:pt>
                <c:pt idx="1100">
                  <c:v>0.70971318046710252</c:v>
                </c:pt>
                <c:pt idx="1101">
                  <c:v>0.69424839084428125</c:v>
                </c:pt>
                <c:pt idx="1102">
                  <c:v>0.69070675848929097</c:v>
                </c:pt>
                <c:pt idx="1103">
                  <c:v>0.68855542214549381</c:v>
                </c:pt>
                <c:pt idx="1104">
                  <c:v>0.66785798560743981</c:v>
                </c:pt>
                <c:pt idx="1105">
                  <c:v>0.63367770382565758</c:v>
                </c:pt>
                <c:pt idx="1106">
                  <c:v>0.63010787512074218</c:v>
                </c:pt>
                <c:pt idx="1107">
                  <c:v>0.60913257844165081</c:v>
                </c:pt>
                <c:pt idx="1108">
                  <c:v>0.5877486485520933</c:v>
                </c:pt>
                <c:pt idx="1109">
                  <c:v>0.55615473417012351</c:v>
                </c:pt>
                <c:pt idx="1110">
                  <c:v>0.51223673758838739</c:v>
                </c:pt>
                <c:pt idx="1111">
                  <c:v>0.48716283835041402</c:v>
                </c:pt>
                <c:pt idx="1112">
                  <c:v>0.42891058687052147</c:v>
                </c:pt>
                <c:pt idx="1113">
                  <c:v>0.33605801445370004</c:v>
                </c:pt>
                <c:pt idx="1114">
                  <c:v>0.29270104913112832</c:v>
                </c:pt>
                <c:pt idx="1115">
                  <c:v>0.28214188950374247</c:v>
                </c:pt>
                <c:pt idx="1116">
                  <c:v>0.28122025698776548</c:v>
                </c:pt>
                <c:pt idx="1117">
                  <c:v>0.28180585137600289</c:v>
                </c:pt>
                <c:pt idx="1118">
                  <c:v>0.29051312214260006</c:v>
                </c:pt>
                <c:pt idx="1119">
                  <c:v>0.30419273041602807</c:v>
                </c:pt>
                <c:pt idx="1120">
                  <c:v>0.31485287884907126</c:v>
                </c:pt>
                <c:pt idx="1121">
                  <c:v>0.32554902313784273</c:v>
                </c:pt>
                <c:pt idx="1122">
                  <c:v>0.32393347746926215</c:v>
                </c:pt>
                <c:pt idx="1123">
                  <c:v>0.32770160473067161</c:v>
                </c:pt>
                <c:pt idx="1124">
                  <c:v>0.32204261367462433</c:v>
                </c:pt>
                <c:pt idx="1125">
                  <c:v>0.31926886955286699</c:v>
                </c:pt>
                <c:pt idx="1126">
                  <c:v>0.30635554119451774</c:v>
                </c:pt>
                <c:pt idx="1127">
                  <c:v>0.31932777968187276</c:v>
                </c:pt>
                <c:pt idx="1128">
                  <c:v>0.31866086861718496</c:v>
                </c:pt>
                <c:pt idx="1129">
                  <c:v>0.3206081780388374</c:v>
                </c:pt>
                <c:pt idx="1130">
                  <c:v>0.33491370451887764</c:v>
                </c:pt>
                <c:pt idx="1131">
                  <c:v>0.34300304559444034</c:v>
                </c:pt>
                <c:pt idx="1132">
                  <c:v>0.34092895564744363</c:v>
                </c:pt>
                <c:pt idx="1133">
                  <c:v>0.34481185258974256</c:v>
                </c:pt>
                <c:pt idx="1134">
                  <c:v>0.34007821807390354</c:v>
                </c:pt>
                <c:pt idx="1135">
                  <c:v>0.3384037224727855</c:v>
                </c:pt>
                <c:pt idx="1136">
                  <c:v>0.33808272006523937</c:v>
                </c:pt>
                <c:pt idx="1137">
                  <c:v>0.33911144221177802</c:v>
                </c:pt>
                <c:pt idx="1138">
                  <c:v>0.33545490739775052</c:v>
                </c:pt>
                <c:pt idx="1139">
                  <c:v>0.34316457303796966</c:v>
                </c:pt>
                <c:pt idx="1140">
                  <c:v>0.35539027322426836</c:v>
                </c:pt>
                <c:pt idx="1141">
                  <c:v>0.35472348091020162</c:v>
                </c:pt>
                <c:pt idx="1142">
                  <c:v>0.35365305542906939</c:v>
                </c:pt>
                <c:pt idx="1143">
                  <c:v>0.35319199213402874</c:v>
                </c:pt>
                <c:pt idx="1144">
                  <c:v>0.34691418055812584</c:v>
                </c:pt>
                <c:pt idx="1145">
                  <c:v>0.35923636401025838</c:v>
                </c:pt>
                <c:pt idx="1146">
                  <c:v>0.35527142250929256</c:v>
                </c:pt>
                <c:pt idx="1147">
                  <c:v>0.36096972992018983</c:v>
                </c:pt>
                <c:pt idx="1148">
                  <c:v>0.36031892344367999</c:v>
                </c:pt>
                <c:pt idx="1149">
                  <c:v>0.35049590933638519</c:v>
                </c:pt>
                <c:pt idx="1150">
                  <c:v>0.34980631584206073</c:v>
                </c:pt>
                <c:pt idx="1151">
                  <c:v>0.33964674707346931</c:v>
                </c:pt>
                <c:pt idx="1152">
                  <c:v>0.33893252692990927</c:v>
                </c:pt>
                <c:pt idx="1153">
                  <c:v>0.34033620323500896</c:v>
                </c:pt>
                <c:pt idx="1154">
                  <c:v>0.33609451644216559</c:v>
                </c:pt>
                <c:pt idx="1155">
                  <c:v>0.34547393553275546</c:v>
                </c:pt>
                <c:pt idx="1156">
                  <c:v>0.34063466668318082</c:v>
                </c:pt>
                <c:pt idx="1157">
                  <c:v>0.35436994530876692</c:v>
                </c:pt>
                <c:pt idx="1158">
                  <c:v>0.37773056952976825</c:v>
                </c:pt>
                <c:pt idx="1159">
                  <c:v>0.37652158567348271</c:v>
                </c:pt>
                <c:pt idx="1160">
                  <c:v>0.37645733499454065</c:v>
                </c:pt>
                <c:pt idx="1161">
                  <c:v>0.38432644460428717</c:v>
                </c:pt>
                <c:pt idx="1162">
                  <c:v>0.38566264915747689</c:v>
                </c:pt>
                <c:pt idx="1163">
                  <c:v>0.37580417480915207</c:v>
                </c:pt>
                <c:pt idx="1164">
                  <c:v>0.38156120873884314</c:v>
                </c:pt>
                <c:pt idx="1165">
                  <c:v>0.39082435738526516</c:v>
                </c:pt>
                <c:pt idx="1166">
                  <c:v>0.39193980692226649</c:v>
                </c:pt>
                <c:pt idx="1167">
                  <c:v>0.38951835367052695</c:v>
                </c:pt>
                <c:pt idx="1168">
                  <c:v>0.39416646832743346</c:v>
                </c:pt>
                <c:pt idx="1169">
                  <c:v>0.38950443872192447</c:v>
                </c:pt>
                <c:pt idx="1170">
                  <c:v>0.37712537026333731</c:v>
                </c:pt>
                <c:pt idx="1171">
                  <c:v>0.37963579530855812</c:v>
                </c:pt>
                <c:pt idx="1172">
                  <c:v>0.38454620056497163</c:v>
                </c:pt>
                <c:pt idx="1173">
                  <c:v>0.38637617849011147</c:v>
                </c:pt>
                <c:pt idx="1174">
                  <c:v>0.38307136256794205</c:v>
                </c:pt>
                <c:pt idx="1175">
                  <c:v>0.37287759977541052</c:v>
                </c:pt>
                <c:pt idx="1176">
                  <c:v>0.38379587120961045</c:v>
                </c:pt>
                <c:pt idx="1177">
                  <c:v>0.38022667305770019</c:v>
                </c:pt>
                <c:pt idx="1178">
                  <c:v>0.37486461404813548</c:v>
                </c:pt>
                <c:pt idx="1179">
                  <c:v>0.3692561797637211</c:v>
                </c:pt>
                <c:pt idx="1180">
                  <c:v>0.36237256588849243</c:v>
                </c:pt>
                <c:pt idx="1181">
                  <c:v>0.34671547659383228</c:v>
                </c:pt>
                <c:pt idx="1182">
                  <c:v>0.35374492190464696</c:v>
                </c:pt>
                <c:pt idx="1183">
                  <c:v>0.34494144881617889</c:v>
                </c:pt>
                <c:pt idx="1184">
                  <c:v>0.34750448270867529</c:v>
                </c:pt>
                <c:pt idx="1185">
                  <c:v>0.33989484946320525</c:v>
                </c:pt>
                <c:pt idx="1186">
                  <c:v>0.33882120057633341</c:v>
                </c:pt>
                <c:pt idx="1187">
                  <c:v>0.31648552859944984</c:v>
                </c:pt>
                <c:pt idx="1188">
                  <c:v>0.29056922468012386</c:v>
                </c:pt>
                <c:pt idx="1189">
                  <c:v>0.30247971350137565</c:v>
                </c:pt>
                <c:pt idx="1190">
                  <c:v>0.29474687770452584</c:v>
                </c:pt>
                <c:pt idx="1191">
                  <c:v>0.29330606018634425</c:v>
                </c:pt>
                <c:pt idx="1192">
                  <c:v>0.29343415327114514</c:v>
                </c:pt>
                <c:pt idx="1193">
                  <c:v>0.32411350578361053</c:v>
                </c:pt>
                <c:pt idx="1194">
                  <c:v>0.34286401815332435</c:v>
                </c:pt>
                <c:pt idx="1195">
                  <c:v>0.33587348916199189</c:v>
                </c:pt>
                <c:pt idx="1196">
                  <c:v>0.34229334861959626</c:v>
                </c:pt>
                <c:pt idx="1197">
                  <c:v>0.34452000863522408</c:v>
                </c:pt>
                <c:pt idx="1198">
                  <c:v>0.34308607726103818</c:v>
                </c:pt>
                <c:pt idx="1199">
                  <c:v>0.3449493769342365</c:v>
                </c:pt>
                <c:pt idx="1200">
                  <c:v>0.36060931106752148</c:v>
                </c:pt>
                <c:pt idx="1201">
                  <c:v>0.35761792240770568</c:v>
                </c:pt>
                <c:pt idx="1202">
                  <c:v>0.35644562984274142</c:v>
                </c:pt>
                <c:pt idx="1203">
                  <c:v>0.35366611039802071</c:v>
                </c:pt>
                <c:pt idx="1204">
                  <c:v>0.35315978618562893</c:v>
                </c:pt>
                <c:pt idx="1205">
                  <c:v>0.35084186119626831</c:v>
                </c:pt>
                <c:pt idx="1206">
                  <c:v>0.33863676220614491</c:v>
                </c:pt>
                <c:pt idx="1207">
                  <c:v>0.341219148157626</c:v>
                </c:pt>
                <c:pt idx="1208">
                  <c:v>0.35329080871542579</c:v>
                </c:pt>
                <c:pt idx="1209">
                  <c:v>0.35296491606301994</c:v>
                </c:pt>
                <c:pt idx="1210">
                  <c:v>0.35035542135470671</c:v>
                </c:pt>
                <c:pt idx="1211">
                  <c:v>0.37511287776734087</c:v>
                </c:pt>
                <c:pt idx="1212">
                  <c:v>0.38620546151856389</c:v>
                </c:pt>
                <c:pt idx="1213">
                  <c:v>0.3963688490128226</c:v>
                </c:pt>
                <c:pt idx="1214">
                  <c:v>0.39176292533625678</c:v>
                </c:pt>
                <c:pt idx="1215">
                  <c:v>0.39202493431219249</c:v>
                </c:pt>
                <c:pt idx="1216">
                  <c:v>0.38402270938419836</c:v>
                </c:pt>
                <c:pt idx="1217">
                  <c:v>0.39137143435403127</c:v>
                </c:pt>
                <c:pt idx="1218">
                  <c:v>0.38941888276577774</c:v>
                </c:pt>
                <c:pt idx="1219">
                  <c:v>0.38286706236755519</c:v>
                </c:pt>
                <c:pt idx="1220">
                  <c:v>0.3839536125391132</c:v>
                </c:pt>
                <c:pt idx="1221">
                  <c:v>0.38663310630260844</c:v>
                </c:pt>
                <c:pt idx="1222">
                  <c:v>0.38645527787079748</c:v>
                </c:pt>
                <c:pt idx="1223">
                  <c:v>0.37149878338969983</c:v>
                </c:pt>
                <c:pt idx="1224">
                  <c:v>0.3609836026746478</c:v>
                </c:pt>
                <c:pt idx="1225">
                  <c:v>0.35871173830493752</c:v>
                </c:pt>
                <c:pt idx="1226">
                  <c:v>0.36977503142302576</c:v>
                </c:pt>
                <c:pt idx="1227">
                  <c:v>0.36412915274726654</c:v>
                </c:pt>
                <c:pt idx="1228">
                  <c:v>0.36123794169886414</c:v>
                </c:pt>
                <c:pt idx="1229">
                  <c:v>0.36190079031331129</c:v>
                </c:pt>
                <c:pt idx="1230">
                  <c:v>0.35561425506572536</c:v>
                </c:pt>
                <c:pt idx="1231">
                  <c:v>0.3526628719549364</c:v>
                </c:pt>
                <c:pt idx="1232">
                  <c:v>0.34623193942781361</c:v>
                </c:pt>
                <c:pt idx="1233">
                  <c:v>0.393827138545436</c:v>
                </c:pt>
                <c:pt idx="1234">
                  <c:v>0.42315901146007096</c:v>
                </c:pt>
                <c:pt idx="1235">
                  <c:v>0.44351391296195741</c:v>
                </c:pt>
                <c:pt idx="1236">
                  <c:v>0.47572783066575902</c:v>
                </c:pt>
                <c:pt idx="1237">
                  <c:v>0.49255658858288642</c:v>
                </c:pt>
                <c:pt idx="1238">
                  <c:v>0.51138280103096001</c:v>
                </c:pt>
                <c:pt idx="1239">
                  <c:v>0.51612809546200911</c:v>
                </c:pt>
                <c:pt idx="1240">
                  <c:v>0.5283341944769967</c:v>
                </c:pt>
                <c:pt idx="1241">
                  <c:v>0.52753639840612065</c:v>
                </c:pt>
                <c:pt idx="1242">
                  <c:v>0.51589081117686075</c:v>
                </c:pt>
                <c:pt idx="1243">
                  <c:v>0.49640900265563415</c:v>
                </c:pt>
                <c:pt idx="1244">
                  <c:v>0.50003809078137351</c:v>
                </c:pt>
                <c:pt idx="1245">
                  <c:v>0.51110590103663844</c:v>
                </c:pt>
                <c:pt idx="1246">
                  <c:v>0.51486760018363276</c:v>
                </c:pt>
                <c:pt idx="1247">
                  <c:v>0.51784049513865182</c:v>
                </c:pt>
                <c:pt idx="1248">
                  <c:v>0.51676473178934645</c:v>
                </c:pt>
                <c:pt idx="1249">
                  <c:v>0.51247036150027736</c:v>
                </c:pt>
                <c:pt idx="1250">
                  <c:v>0.52108744440600963</c:v>
                </c:pt>
                <c:pt idx="1251">
                  <c:v>0.528901850990384</c:v>
                </c:pt>
                <c:pt idx="1252">
                  <c:v>0.51319038749410495</c:v>
                </c:pt>
                <c:pt idx="1253">
                  <c:v>0.48005154113760484</c:v>
                </c:pt>
                <c:pt idx="1254">
                  <c:v>0.42926798705048425</c:v>
                </c:pt>
                <c:pt idx="1255">
                  <c:v>0.41118963507068362</c:v>
                </c:pt>
                <c:pt idx="1256">
                  <c:v>0.41766742837692</c:v>
                </c:pt>
                <c:pt idx="1257">
                  <c:v>0.38483344565875816</c:v>
                </c:pt>
                <c:pt idx="1258">
                  <c:v>0.3422331109941753</c:v>
                </c:pt>
                <c:pt idx="1259">
                  <c:v>0.32859834460009957</c:v>
                </c:pt>
                <c:pt idx="1260">
                  <c:v>0.31699427165915145</c:v>
                </c:pt>
                <c:pt idx="1261">
                  <c:v>0.24310844184091895</c:v>
                </c:pt>
                <c:pt idx="1262">
                  <c:v>0.19317941182722528</c:v>
                </c:pt>
                <c:pt idx="1263">
                  <c:v>0.1924615364921555</c:v>
                </c:pt>
                <c:pt idx="1264">
                  <c:v>0.19413768615713808</c:v>
                </c:pt>
                <c:pt idx="1265">
                  <c:v>0.20510649361242711</c:v>
                </c:pt>
                <c:pt idx="1266">
                  <c:v>0.20418738633515027</c:v>
                </c:pt>
                <c:pt idx="1267">
                  <c:v>0.20580707908979951</c:v>
                </c:pt>
                <c:pt idx="1268">
                  <c:v>0.21060632565355489</c:v>
                </c:pt>
                <c:pt idx="1269">
                  <c:v>0.20798061019343725</c:v>
                </c:pt>
                <c:pt idx="1270">
                  <c:v>0.21182029211240835</c:v>
                </c:pt>
                <c:pt idx="1271">
                  <c:v>0.20916637769057672</c:v>
                </c:pt>
                <c:pt idx="1272">
                  <c:v>0.20880970990228187</c:v>
                </c:pt>
                <c:pt idx="1273">
                  <c:v>0.21179069651555071</c:v>
                </c:pt>
                <c:pt idx="1274">
                  <c:v>0.21233090585022191</c:v>
                </c:pt>
                <c:pt idx="1275">
                  <c:v>0.20799483568403021</c:v>
                </c:pt>
                <c:pt idx="1276">
                  <c:v>0.20797125693288174</c:v>
                </c:pt>
                <c:pt idx="1277">
                  <c:v>0.21926817509530441</c:v>
                </c:pt>
                <c:pt idx="1278">
                  <c:v>0.27814254785788073</c:v>
                </c:pt>
                <c:pt idx="1279">
                  <c:v>0.34401380712413304</c:v>
                </c:pt>
                <c:pt idx="1280">
                  <c:v>0.38839812360554532</c:v>
                </c:pt>
                <c:pt idx="1281">
                  <c:v>0.3877606548401476</c:v>
                </c:pt>
                <c:pt idx="1282">
                  <c:v>0.42426387274553667</c:v>
                </c:pt>
                <c:pt idx="1283">
                  <c:v>0.45935500846461047</c:v>
                </c:pt>
                <c:pt idx="1284">
                  <c:v>0.47874666167424734</c:v>
                </c:pt>
                <c:pt idx="1285">
                  <c:v>0.49980935147695871</c:v>
                </c:pt>
                <c:pt idx="1286">
                  <c:v>0.5349433476731853</c:v>
                </c:pt>
                <c:pt idx="1287">
                  <c:v>0.53686931756667067</c:v>
                </c:pt>
                <c:pt idx="1288">
                  <c:v>0.55334835495146684</c:v>
                </c:pt>
                <c:pt idx="1289">
                  <c:v>0.55172721012973802</c:v>
                </c:pt>
                <c:pt idx="1290">
                  <c:v>0.55785644894098307</c:v>
                </c:pt>
                <c:pt idx="1291">
                  <c:v>0.55104947452702246</c:v>
                </c:pt>
                <c:pt idx="1292">
                  <c:v>0.55770762563511134</c:v>
                </c:pt>
                <c:pt idx="1293">
                  <c:v>0.55198570106892486</c:v>
                </c:pt>
                <c:pt idx="1294">
                  <c:v>0.54318289735415626</c:v>
                </c:pt>
                <c:pt idx="1295">
                  <c:v>0.51975220863561544</c:v>
                </c:pt>
                <c:pt idx="1296">
                  <c:v>0.51064574646502692</c:v>
                </c:pt>
                <c:pt idx="1297">
                  <c:v>0.50804030364037578</c:v>
                </c:pt>
                <c:pt idx="1298">
                  <c:v>0.50631252378220204</c:v>
                </c:pt>
                <c:pt idx="1299">
                  <c:v>0.49158146367529854</c:v>
                </c:pt>
                <c:pt idx="1300">
                  <c:v>0.4629676251503495</c:v>
                </c:pt>
                <c:pt idx="1301">
                  <c:v>0.453557063876246</c:v>
                </c:pt>
                <c:pt idx="1302">
                  <c:v>0.43835066022287861</c:v>
                </c:pt>
                <c:pt idx="1303">
                  <c:v>0.39586462226558583</c:v>
                </c:pt>
                <c:pt idx="1304">
                  <c:v>0.3693206783558089</c:v>
                </c:pt>
                <c:pt idx="1305">
                  <c:v>0.31531026217829117</c:v>
                </c:pt>
                <c:pt idx="1306">
                  <c:v>0.28834212730952624</c:v>
                </c:pt>
                <c:pt idx="1307">
                  <c:v>0.27901937015239281</c:v>
                </c:pt>
                <c:pt idx="1308">
                  <c:v>0.28194699243101035</c:v>
                </c:pt>
                <c:pt idx="1309">
                  <c:v>0.27942652737073437</c:v>
                </c:pt>
                <c:pt idx="1310">
                  <c:v>0.28472700817904667</c:v>
                </c:pt>
                <c:pt idx="1311">
                  <c:v>0.27326819556279697</c:v>
                </c:pt>
                <c:pt idx="1312">
                  <c:v>0.29621874802865544</c:v>
                </c:pt>
                <c:pt idx="1313">
                  <c:v>0.30403770469185309</c:v>
                </c:pt>
                <c:pt idx="1314">
                  <c:v>0.30617687171400043</c:v>
                </c:pt>
                <c:pt idx="1315">
                  <c:v>0.30834543529737402</c:v>
                </c:pt>
                <c:pt idx="1316">
                  <c:v>0.30415089661399969</c:v>
                </c:pt>
                <c:pt idx="1317">
                  <c:v>0.31055276334355381</c:v>
                </c:pt>
                <c:pt idx="1318">
                  <c:v>0.30696222174359472</c:v>
                </c:pt>
                <c:pt idx="1319">
                  <c:v>0.33581220722616939</c:v>
                </c:pt>
                <c:pt idx="1320">
                  <c:v>0.33660593178892018</c:v>
                </c:pt>
                <c:pt idx="1321">
                  <c:v>0.32459985135895442</c:v>
                </c:pt>
                <c:pt idx="1322">
                  <c:v>0.32549815701670876</c:v>
                </c:pt>
                <c:pt idx="1323">
                  <c:v>0.31891199452284741</c:v>
                </c:pt>
                <c:pt idx="1324">
                  <c:v>0.3341247915092353</c:v>
                </c:pt>
                <c:pt idx="1325">
                  <c:v>0.34340446772145466</c:v>
                </c:pt>
                <c:pt idx="1326">
                  <c:v>0.34222712539969286</c:v>
                </c:pt>
                <c:pt idx="1327">
                  <c:v>0.34689752725441575</c:v>
                </c:pt>
                <c:pt idx="1328">
                  <c:v>0.35521481282830841</c:v>
                </c:pt>
                <c:pt idx="1329">
                  <c:v>0.35371648906402497</c:v>
                </c:pt>
                <c:pt idx="1330">
                  <c:v>0.35644614452247952</c:v>
                </c:pt>
                <c:pt idx="1331">
                  <c:v>0.35253131019138156</c:v>
                </c:pt>
                <c:pt idx="1332">
                  <c:v>0.35011282484762757</c:v>
                </c:pt>
                <c:pt idx="1333">
                  <c:v>0.34998283868356</c:v>
                </c:pt>
                <c:pt idx="1334">
                  <c:v>0.35087687034252663</c:v>
                </c:pt>
                <c:pt idx="1335">
                  <c:v>0.35255297615444775</c:v>
                </c:pt>
                <c:pt idx="1336">
                  <c:v>0.34687059871285769</c:v>
                </c:pt>
                <c:pt idx="1337">
                  <c:v>0.34507900417095305</c:v>
                </c:pt>
                <c:pt idx="1338">
                  <c:v>0.34416339475125551</c:v>
                </c:pt>
                <c:pt idx="1339">
                  <c:v>0.35268310136280506</c:v>
                </c:pt>
                <c:pt idx="1340">
                  <c:v>0.35015098402826861</c:v>
                </c:pt>
                <c:pt idx="1341">
                  <c:v>0.35378100091410769</c:v>
                </c:pt>
                <c:pt idx="1342">
                  <c:v>0.32964564888359038</c:v>
                </c:pt>
                <c:pt idx="1343">
                  <c:v>0.33980705997925997</c:v>
                </c:pt>
                <c:pt idx="1344">
                  <c:v>0.33534940305535699</c:v>
                </c:pt>
                <c:pt idx="1345">
                  <c:v>0.33193986585518337</c:v>
                </c:pt>
                <c:pt idx="1346">
                  <c:v>0.32038917784380017</c:v>
                </c:pt>
                <c:pt idx="1347">
                  <c:v>0.31389241658958861</c:v>
                </c:pt>
                <c:pt idx="1348">
                  <c:v>0.31628505558083869</c:v>
                </c:pt>
                <c:pt idx="1349">
                  <c:v>0.29838842897600071</c:v>
                </c:pt>
                <c:pt idx="1350">
                  <c:v>0.2983254585853129</c:v>
                </c:pt>
                <c:pt idx="1351">
                  <c:v>0.29192388166570449</c:v>
                </c:pt>
                <c:pt idx="1352">
                  <c:v>0.32032154189208345</c:v>
                </c:pt>
                <c:pt idx="1353">
                  <c:v>0.33331122758032034</c:v>
                </c:pt>
                <c:pt idx="1354">
                  <c:v>0.33491851197727535</c:v>
                </c:pt>
                <c:pt idx="1355">
                  <c:v>0.31907255332765239</c:v>
                </c:pt>
                <c:pt idx="1356">
                  <c:v>0.32151789960951715</c:v>
                </c:pt>
                <c:pt idx="1357">
                  <c:v>0.31664185533830619</c:v>
                </c:pt>
                <c:pt idx="1358">
                  <c:v>0.31312654732716316</c:v>
                </c:pt>
                <c:pt idx="1359">
                  <c:v>0.31499494216039181</c:v>
                </c:pt>
                <c:pt idx="1360">
                  <c:v>0.31420633906971346</c:v>
                </c:pt>
                <c:pt idx="1361">
                  <c:v>0.31750867375717495</c:v>
                </c:pt>
                <c:pt idx="1362">
                  <c:v>0.31754571981759849</c:v>
                </c:pt>
                <c:pt idx="1363">
                  <c:v>0.32751706351856019</c:v>
                </c:pt>
                <c:pt idx="1364">
                  <c:v>0.32907331024167369</c:v>
                </c:pt>
                <c:pt idx="1365">
                  <c:v>0.3293165335132423</c:v>
                </c:pt>
                <c:pt idx="1366">
                  <c:v>0.32701894566799405</c:v>
                </c:pt>
                <c:pt idx="1367">
                  <c:v>0.32609695310656583</c:v>
                </c:pt>
                <c:pt idx="1368">
                  <c:v>0.34419594507646351</c:v>
                </c:pt>
                <c:pt idx="1369">
                  <c:v>0.33878570577394951</c:v>
                </c:pt>
                <c:pt idx="1370">
                  <c:v>0.35543180034238592</c:v>
                </c:pt>
                <c:pt idx="1371">
                  <c:v>0.34816001855191664</c:v>
                </c:pt>
                <c:pt idx="1372">
                  <c:v>0.35776845721600042</c:v>
                </c:pt>
                <c:pt idx="1373">
                  <c:v>0.34281267916335334</c:v>
                </c:pt>
                <c:pt idx="1374">
                  <c:v>0.35351790324745169</c:v>
                </c:pt>
                <c:pt idx="1375">
                  <c:v>0.36565062326816039</c:v>
                </c:pt>
                <c:pt idx="1376">
                  <c:v>0.38571423081559741</c:v>
                </c:pt>
                <c:pt idx="1377">
                  <c:v>0.38590750749507036</c:v>
                </c:pt>
                <c:pt idx="1378">
                  <c:v>0.39002234354666737</c:v>
                </c:pt>
                <c:pt idx="1379">
                  <c:v>0.40207587501730874</c:v>
                </c:pt>
                <c:pt idx="1380">
                  <c:v>0.40112233683129295</c:v>
                </c:pt>
                <c:pt idx="1381">
                  <c:v>0.40141146279674705</c:v>
                </c:pt>
                <c:pt idx="1382">
                  <c:v>0.3912386881103701</c:v>
                </c:pt>
                <c:pt idx="1383">
                  <c:v>0.38187028263308898</c:v>
                </c:pt>
                <c:pt idx="1384">
                  <c:v>0.36170036048856452</c:v>
                </c:pt>
                <c:pt idx="1385">
                  <c:v>0.36043658599799511</c:v>
                </c:pt>
                <c:pt idx="1386">
                  <c:v>0.35751942788810925</c:v>
                </c:pt>
                <c:pt idx="1387">
                  <c:v>0.34921931513828991</c:v>
                </c:pt>
                <c:pt idx="1388">
                  <c:v>0.3600130839720011</c:v>
                </c:pt>
                <c:pt idx="1389">
                  <c:v>0.35747405146657441</c:v>
                </c:pt>
                <c:pt idx="1390">
                  <c:v>0.37020922863940336</c:v>
                </c:pt>
                <c:pt idx="1391">
                  <c:v>0.36766734584255834</c:v>
                </c:pt>
                <c:pt idx="1392">
                  <c:v>0.3654803133836983</c:v>
                </c:pt>
                <c:pt idx="1393">
                  <c:v>0.35484256699975841</c:v>
                </c:pt>
                <c:pt idx="1394">
                  <c:v>0.35266439568774938</c:v>
                </c:pt>
                <c:pt idx="1395">
                  <c:v>0.35144306185765189</c:v>
                </c:pt>
                <c:pt idx="1396">
                  <c:v>0.35040770519852044</c:v>
                </c:pt>
                <c:pt idx="1397">
                  <c:v>0.35142892875075465</c:v>
                </c:pt>
                <c:pt idx="1398">
                  <c:v>0.34194080975304147</c:v>
                </c:pt>
                <c:pt idx="1399">
                  <c:v>0.34254318909968662</c:v>
                </c:pt>
                <c:pt idx="1400">
                  <c:v>0.32671759260081662</c:v>
                </c:pt>
                <c:pt idx="1401">
                  <c:v>0.32399889406178994</c:v>
                </c:pt>
                <c:pt idx="1402">
                  <c:v>0.31705205727332525</c:v>
                </c:pt>
                <c:pt idx="1403">
                  <c:v>0.32053193976759609</c:v>
                </c:pt>
                <c:pt idx="1404">
                  <c:v>0.31371853062571853</c:v>
                </c:pt>
                <c:pt idx="1405">
                  <c:v>0.29692659437330921</c:v>
                </c:pt>
                <c:pt idx="1406">
                  <c:v>0.2544123932137291</c:v>
                </c:pt>
                <c:pt idx="1407">
                  <c:v>0.25620089896957299</c:v>
                </c:pt>
                <c:pt idx="1408">
                  <c:v>0.2549634604351953</c:v>
                </c:pt>
                <c:pt idx="1409">
                  <c:v>0.24028992202070737</c:v>
                </c:pt>
                <c:pt idx="1410">
                  <c:v>0.24398280415520285</c:v>
                </c:pt>
                <c:pt idx="1411">
                  <c:v>0.24219291708527652</c:v>
                </c:pt>
                <c:pt idx="1412">
                  <c:v>0.23328937538014002</c:v>
                </c:pt>
                <c:pt idx="1413">
                  <c:v>0.23132663050703442</c:v>
                </c:pt>
                <c:pt idx="1414">
                  <c:v>0.23879884109164612</c:v>
                </c:pt>
                <c:pt idx="1415">
                  <c:v>0.24640690303669549</c:v>
                </c:pt>
                <c:pt idx="1416">
                  <c:v>0.24831292607136005</c:v>
                </c:pt>
                <c:pt idx="1417">
                  <c:v>0.25407324757312016</c:v>
                </c:pt>
                <c:pt idx="1418">
                  <c:v>0.25545117065566908</c:v>
                </c:pt>
                <c:pt idx="1419">
                  <c:v>0.27332103604432373</c:v>
                </c:pt>
                <c:pt idx="1420">
                  <c:v>0.26080071162049312</c:v>
                </c:pt>
                <c:pt idx="1421">
                  <c:v>0.26065586274068536</c:v>
                </c:pt>
                <c:pt idx="1422">
                  <c:v>0.27567490906072289</c:v>
                </c:pt>
                <c:pt idx="1423">
                  <c:v>0.27841665157854195</c:v>
                </c:pt>
                <c:pt idx="1424">
                  <c:v>0.29414603395203653</c:v>
                </c:pt>
                <c:pt idx="1425">
                  <c:v>0.31408515546721139</c:v>
                </c:pt>
                <c:pt idx="1426">
                  <c:v>0.3143915211037927</c:v>
                </c:pt>
                <c:pt idx="1427">
                  <c:v>0.31400069715258627</c:v>
                </c:pt>
                <c:pt idx="1428">
                  <c:v>0.31641453650321344</c:v>
                </c:pt>
                <c:pt idx="1429">
                  <c:v>0.31463090857245224</c:v>
                </c:pt>
                <c:pt idx="1430">
                  <c:v>0.33854151625942841</c:v>
                </c:pt>
                <c:pt idx="1431">
                  <c:v>0.34201486584995</c:v>
                </c:pt>
                <c:pt idx="1432">
                  <c:v>0.33934042316489299</c:v>
                </c:pt>
                <c:pt idx="1433">
                  <c:v>0.3402908325340922</c:v>
                </c:pt>
                <c:pt idx="1434">
                  <c:v>0.34858202022877743</c:v>
                </c:pt>
                <c:pt idx="1435">
                  <c:v>0.34626610334105673</c:v>
                </c:pt>
                <c:pt idx="1436">
                  <c:v>0.35877768110419023</c:v>
                </c:pt>
                <c:pt idx="1437">
                  <c:v>0.35813879164464013</c:v>
                </c:pt>
                <c:pt idx="1438">
                  <c:v>0.3595968918382737</c:v>
                </c:pt>
                <c:pt idx="1439">
                  <c:v>0.35958151329394528</c:v>
                </c:pt>
                <c:pt idx="1440">
                  <c:v>0.35988167023350798</c:v>
                </c:pt>
                <c:pt idx="1441">
                  <c:v>0.36093680622773483</c:v>
                </c:pt>
                <c:pt idx="1442">
                  <c:v>0.36456162288777344</c:v>
                </c:pt>
                <c:pt idx="1443">
                  <c:v>0.36516669575168587</c:v>
                </c:pt>
                <c:pt idx="1444">
                  <c:v>0.36013391171198433</c:v>
                </c:pt>
                <c:pt idx="1445">
                  <c:v>0.36924528095168629</c:v>
                </c:pt>
                <c:pt idx="1446">
                  <c:v>0.37146038990067365</c:v>
                </c:pt>
                <c:pt idx="1447">
                  <c:v>0.36799103916490633</c:v>
                </c:pt>
                <c:pt idx="1448">
                  <c:v>0.35127027800027066</c:v>
                </c:pt>
                <c:pt idx="1449">
                  <c:v>0.3573697856713407</c:v>
                </c:pt>
                <c:pt idx="1450">
                  <c:v>0.36075862445039591</c:v>
                </c:pt>
                <c:pt idx="1451">
                  <c:v>0.35992954598310012</c:v>
                </c:pt>
                <c:pt idx="1452">
                  <c:v>0.35648715377916579</c:v>
                </c:pt>
                <c:pt idx="1453">
                  <c:v>0.37043365364921543</c:v>
                </c:pt>
                <c:pt idx="1454">
                  <c:v>0.35714777794824443</c:v>
                </c:pt>
                <c:pt idx="1455">
                  <c:v>0.33655384921582082</c:v>
                </c:pt>
                <c:pt idx="1456">
                  <c:v>0.33681045110954033</c:v>
                </c:pt>
                <c:pt idx="1457">
                  <c:v>0.33927719506272713</c:v>
                </c:pt>
                <c:pt idx="1458">
                  <c:v>0.33296111796344419</c:v>
                </c:pt>
                <c:pt idx="1459">
                  <c:v>0.33310724040707756</c:v>
                </c:pt>
                <c:pt idx="1460">
                  <c:v>0.30350688450627911</c:v>
                </c:pt>
                <c:pt idx="1461">
                  <c:v>0.30838671583722627</c:v>
                </c:pt>
                <c:pt idx="1462">
                  <c:v>0.30607639854345048</c:v>
                </c:pt>
                <c:pt idx="1463">
                  <c:v>0.30041722562670997</c:v>
                </c:pt>
                <c:pt idx="1464">
                  <c:v>0.30651264018937691</c:v>
                </c:pt>
                <c:pt idx="1465">
                  <c:v>0.31495044531935334</c:v>
                </c:pt>
                <c:pt idx="1466">
                  <c:v>0.30419993514534882</c:v>
                </c:pt>
                <c:pt idx="1467">
                  <c:v>0.30430506886288555</c:v>
                </c:pt>
                <c:pt idx="1468">
                  <c:v>0.29917893203250423</c:v>
                </c:pt>
                <c:pt idx="1469">
                  <c:v>0.30009670484862194</c:v>
                </c:pt>
                <c:pt idx="1470">
                  <c:v>0.2952771826162483</c:v>
                </c:pt>
                <c:pt idx="1471">
                  <c:v>0.29436251838674388</c:v>
                </c:pt>
                <c:pt idx="1472">
                  <c:v>0.30257661865728586</c:v>
                </c:pt>
                <c:pt idx="1473">
                  <c:v>0.3133103409645171</c:v>
                </c:pt>
                <c:pt idx="1474">
                  <c:v>0.31405917262632738</c:v>
                </c:pt>
                <c:pt idx="1475">
                  <c:v>0.29906835648212077</c:v>
                </c:pt>
                <c:pt idx="1476">
                  <c:v>0.30118025093689454</c:v>
                </c:pt>
                <c:pt idx="1477">
                  <c:v>0.30050818176653071</c:v>
                </c:pt>
                <c:pt idx="1478">
                  <c:v>0.30068864950164997</c:v>
                </c:pt>
                <c:pt idx="1479">
                  <c:v>0.27663536349493673</c:v>
                </c:pt>
                <c:pt idx="1480">
                  <c:v>0.27788541411642742</c:v>
                </c:pt>
                <c:pt idx="1481">
                  <c:v>0.27649309168671882</c:v>
                </c:pt>
                <c:pt idx="1482">
                  <c:v>0.26928030641447037</c:v>
                </c:pt>
                <c:pt idx="1483">
                  <c:v>0.25077350752772226</c:v>
                </c:pt>
                <c:pt idx="1484">
                  <c:v>0.25410417189041107</c:v>
                </c:pt>
                <c:pt idx="1485">
                  <c:v>0.26245276282232227</c:v>
                </c:pt>
                <c:pt idx="1486">
                  <c:v>0.2946012118896647</c:v>
                </c:pt>
                <c:pt idx="1487">
                  <c:v>0.29244019680481903</c:v>
                </c:pt>
                <c:pt idx="1488">
                  <c:v>0.29394855458734137</c:v>
                </c:pt>
                <c:pt idx="1489">
                  <c:v>0.30398629817551892</c:v>
                </c:pt>
                <c:pt idx="1490">
                  <c:v>0.30573115342510271</c:v>
                </c:pt>
                <c:pt idx="1491">
                  <c:v>0.29520511017032169</c:v>
                </c:pt>
                <c:pt idx="1492">
                  <c:v>0.29729687492125584</c:v>
                </c:pt>
                <c:pt idx="1493">
                  <c:v>0.29813138445705767</c:v>
                </c:pt>
                <c:pt idx="1494">
                  <c:v>0.30284988118635842</c:v>
                </c:pt>
                <c:pt idx="1495">
                  <c:v>0.29480980600765638</c:v>
                </c:pt>
                <c:pt idx="1496">
                  <c:v>0.29085348614028594</c:v>
                </c:pt>
                <c:pt idx="1497">
                  <c:v>0.29083062097515422</c:v>
                </c:pt>
                <c:pt idx="1498">
                  <c:v>0.28917417027500902</c:v>
                </c:pt>
                <c:pt idx="1499">
                  <c:v>0.29490389767386216</c:v>
                </c:pt>
                <c:pt idx="1500">
                  <c:v>0.29502319493627999</c:v>
                </c:pt>
                <c:pt idx="1501">
                  <c:v>0.29463726725155537</c:v>
                </c:pt>
                <c:pt idx="1502">
                  <c:v>0.28108443230114366</c:v>
                </c:pt>
                <c:pt idx="1503">
                  <c:v>0.26901303684582101</c:v>
                </c:pt>
                <c:pt idx="1504">
                  <c:v>0.27276951577242858</c:v>
                </c:pt>
                <c:pt idx="1505">
                  <c:v>0.27302450873677636</c:v>
                </c:pt>
                <c:pt idx="1506">
                  <c:v>0.27460064932100436</c:v>
                </c:pt>
                <c:pt idx="1507">
                  <c:v>0.27462882511143755</c:v>
                </c:pt>
                <c:pt idx="1508">
                  <c:v>0.27481724331913948</c:v>
                </c:pt>
                <c:pt idx="1509">
                  <c:v>0.27090689785574867</c:v>
                </c:pt>
                <c:pt idx="1510">
                  <c:v>0.26278053937247958</c:v>
                </c:pt>
                <c:pt idx="1511">
                  <c:v>0.26766158743377211</c:v>
                </c:pt>
                <c:pt idx="1512">
                  <c:v>0.26959166373163651</c:v>
                </c:pt>
                <c:pt idx="1513">
                  <c:v>0.27122316330563651</c:v>
                </c:pt>
                <c:pt idx="1514">
                  <c:v>0.30082754299603343</c:v>
                </c:pt>
                <c:pt idx="1515">
                  <c:v>0.29604464006888948</c:v>
                </c:pt>
                <c:pt idx="1516">
                  <c:v>0.26942315223896951</c:v>
                </c:pt>
                <c:pt idx="1517">
                  <c:v>0.2676131082739005</c:v>
                </c:pt>
                <c:pt idx="1518">
                  <c:v>0.27056909693741804</c:v>
                </c:pt>
                <c:pt idx="1519">
                  <c:v>0.26937610436646525</c:v>
                </c:pt>
                <c:pt idx="1520">
                  <c:v>0.26755452392569556</c:v>
                </c:pt>
                <c:pt idx="1521">
                  <c:v>0.28039324627643319</c:v>
                </c:pt>
                <c:pt idx="1522">
                  <c:v>0.27790695664518711</c:v>
                </c:pt>
                <c:pt idx="1523">
                  <c:v>0.2759878879185575</c:v>
                </c:pt>
                <c:pt idx="1524">
                  <c:v>0.25849207984551575</c:v>
                </c:pt>
                <c:pt idx="1525">
                  <c:v>0.2632405625860364</c:v>
                </c:pt>
                <c:pt idx="1526">
                  <c:v>0.27020618028337606</c:v>
                </c:pt>
                <c:pt idx="1527">
                  <c:v>0.27302800782734205</c:v>
                </c:pt>
                <c:pt idx="1528">
                  <c:v>0.27609472501641752</c:v>
                </c:pt>
                <c:pt idx="1529">
                  <c:v>0.26675988205109569</c:v>
                </c:pt>
                <c:pt idx="1530">
                  <c:v>0.27111145317772162</c:v>
                </c:pt>
                <c:pt idx="1531">
                  <c:v>0.27111145317772162</c:v>
                </c:pt>
                <c:pt idx="1532">
                  <c:v>0.28630985043349688</c:v>
                </c:pt>
                <c:pt idx="1533">
                  <c:v>0.28627237266751482</c:v>
                </c:pt>
                <c:pt idx="1534">
                  <c:v>0.28484936079982393</c:v>
                </c:pt>
                <c:pt idx="1535">
                  <c:v>0.27930920997334718</c:v>
                </c:pt>
                <c:pt idx="1536">
                  <c:v>0.27657228176688081</c:v>
                </c:pt>
                <c:pt idx="1537">
                  <c:v>0.28400390471292658</c:v>
                </c:pt>
                <c:pt idx="1538">
                  <c:v>0.28395729785815521</c:v>
                </c:pt>
                <c:pt idx="1539">
                  <c:v>0.2868458010029975</c:v>
                </c:pt>
                <c:pt idx="1540">
                  <c:v>0.28834340629473459</c:v>
                </c:pt>
                <c:pt idx="1541">
                  <c:v>0.28415573402203081</c:v>
                </c:pt>
                <c:pt idx="1542">
                  <c:v>0.28463914456434319</c:v>
                </c:pt>
                <c:pt idx="1543">
                  <c:v>0.2810156060313132</c:v>
                </c:pt>
                <c:pt idx="1544">
                  <c:v>0.25055286540932825</c:v>
                </c:pt>
                <c:pt idx="1545">
                  <c:v>0.25940736455982433</c:v>
                </c:pt>
                <c:pt idx="1546">
                  <c:v>0.25805590402224321</c:v>
                </c:pt>
                <c:pt idx="1547">
                  <c:v>0.26061665763540848</c:v>
                </c:pt>
                <c:pt idx="1548">
                  <c:v>0.2551809505588235</c:v>
                </c:pt>
                <c:pt idx="1549">
                  <c:v>0.24709088522579489</c:v>
                </c:pt>
                <c:pt idx="1550">
                  <c:v>0.24536749332615437</c:v>
                </c:pt>
                <c:pt idx="1551">
                  <c:v>0.24710832423472168</c:v>
                </c:pt>
                <c:pt idx="1552">
                  <c:v>0.24721142820085479</c:v>
                </c:pt>
                <c:pt idx="1553">
                  <c:v>0.25651336286765553</c:v>
                </c:pt>
                <c:pt idx="1554">
                  <c:v>0.25125349114486206</c:v>
                </c:pt>
                <c:pt idx="1555">
                  <c:v>0.25215140453534263</c:v>
                </c:pt>
                <c:pt idx="1556">
                  <c:v>0.25217163288859668</c:v>
                </c:pt>
                <c:pt idx="1557">
                  <c:v>0.26074947822955741</c:v>
                </c:pt>
                <c:pt idx="1558">
                  <c:v>0.2584340607149459</c:v>
                </c:pt>
                <c:pt idx="1559">
                  <c:v>0.25887206963746651</c:v>
                </c:pt>
                <c:pt idx="1560">
                  <c:v>0.26678963696906294</c:v>
                </c:pt>
                <c:pt idx="1561">
                  <c:v>0.28099153035706992</c:v>
                </c:pt>
                <c:pt idx="1562">
                  <c:v>0.25668796058454285</c:v>
                </c:pt>
                <c:pt idx="1563">
                  <c:v>0.25923196288834871</c:v>
                </c:pt>
                <c:pt idx="1564">
                  <c:v>0.25938235912481639</c:v>
                </c:pt>
                <c:pt idx="1565">
                  <c:v>0.25601864577805067</c:v>
                </c:pt>
                <c:pt idx="1566">
                  <c:v>0.24678176310934793</c:v>
                </c:pt>
                <c:pt idx="1567">
                  <c:v>0.23666834821465332</c:v>
                </c:pt>
                <c:pt idx="1568">
                  <c:v>0.23681449982400962</c:v>
                </c:pt>
                <c:pt idx="1569">
                  <c:v>0.23179294805186734</c:v>
                </c:pt>
                <c:pt idx="1570">
                  <c:v>0.23794030139627537</c:v>
                </c:pt>
                <c:pt idx="1571">
                  <c:v>0.25256989157343157</c:v>
                </c:pt>
                <c:pt idx="1572">
                  <c:v>0.25577020844523524</c:v>
                </c:pt>
                <c:pt idx="1573">
                  <c:v>0.25525643570727863</c:v>
                </c:pt>
                <c:pt idx="1574">
                  <c:v>0.27050574806114575</c:v>
                </c:pt>
                <c:pt idx="1575">
                  <c:v>0.26497558425761325</c:v>
                </c:pt>
                <c:pt idx="1576">
                  <c:v>0.26886158243828567</c:v>
                </c:pt>
                <c:pt idx="1577">
                  <c:v>0.26415184246945095</c:v>
                </c:pt>
                <c:pt idx="1578">
                  <c:v>0.26849219266341662</c:v>
                </c:pt>
                <c:pt idx="1579">
                  <c:v>0.27706216448746213</c:v>
                </c:pt>
                <c:pt idx="1580">
                  <c:v>0.27776301425840022</c:v>
                </c:pt>
                <c:pt idx="1581">
                  <c:v>0.28151086051535501</c:v>
                </c:pt>
                <c:pt idx="1582">
                  <c:v>0.28185501636777666</c:v>
                </c:pt>
                <c:pt idx="1583">
                  <c:v>0.28646266567032336</c:v>
                </c:pt>
                <c:pt idx="1584">
                  <c:v>0.28644826447874844</c:v>
                </c:pt>
                <c:pt idx="1585">
                  <c:v>0.29563033874617539</c:v>
                </c:pt>
                <c:pt idx="1586">
                  <c:v>0.29351306559923923</c:v>
                </c:pt>
                <c:pt idx="1587">
                  <c:v>0.28187805294564594</c:v>
                </c:pt>
                <c:pt idx="1588">
                  <c:v>0.28950216273110652</c:v>
                </c:pt>
                <c:pt idx="1589">
                  <c:v>0.28756431300912855</c:v>
                </c:pt>
                <c:pt idx="1590">
                  <c:v>0.28320263811779811</c:v>
                </c:pt>
                <c:pt idx="1591">
                  <c:v>0.27191724982179244</c:v>
                </c:pt>
                <c:pt idx="1592">
                  <c:v>0.27168302291812607</c:v>
                </c:pt>
                <c:pt idx="1593">
                  <c:v>0.28783945815372258</c:v>
                </c:pt>
                <c:pt idx="1594">
                  <c:v>0.28589196849855519</c:v>
                </c:pt>
                <c:pt idx="1595">
                  <c:v>0.29961243572141949</c:v>
                </c:pt>
                <c:pt idx="1596">
                  <c:v>0.29612262595919464</c:v>
                </c:pt>
                <c:pt idx="1597">
                  <c:v>0.29505403036254907</c:v>
                </c:pt>
                <c:pt idx="1598">
                  <c:v>0.29498762211710716</c:v>
                </c:pt>
                <c:pt idx="1599">
                  <c:v>0.30757787554195692</c:v>
                </c:pt>
                <c:pt idx="1600">
                  <c:v>0.30300582523284103</c:v>
                </c:pt>
                <c:pt idx="1601">
                  <c:v>0.28893476582432881</c:v>
                </c:pt>
                <c:pt idx="1602">
                  <c:v>0.29027491731721594</c:v>
                </c:pt>
                <c:pt idx="1603">
                  <c:v>0.30271621442977376</c:v>
                </c:pt>
                <c:pt idx="1604">
                  <c:v>0.29723155464146356</c:v>
                </c:pt>
                <c:pt idx="1605">
                  <c:v>0.30075645285637687</c:v>
                </c:pt>
                <c:pt idx="1606">
                  <c:v>0.29825744572639784</c:v>
                </c:pt>
                <c:pt idx="1607">
                  <c:v>0.30408927874440655</c:v>
                </c:pt>
                <c:pt idx="1608">
                  <c:v>0.30235921672570215</c:v>
                </c:pt>
                <c:pt idx="1609">
                  <c:v>0.2953862681787815</c:v>
                </c:pt>
                <c:pt idx="1610">
                  <c:v>0.2945763606219185</c:v>
                </c:pt>
                <c:pt idx="1611">
                  <c:v>0.29958080537411563</c:v>
                </c:pt>
                <c:pt idx="1612">
                  <c:v>0.30791553449895898</c:v>
                </c:pt>
                <c:pt idx="1613">
                  <c:v>0.29397671845124784</c:v>
                </c:pt>
                <c:pt idx="1614">
                  <c:v>0.31600451401639557</c:v>
                </c:pt>
                <c:pt idx="1615">
                  <c:v>0.30446223277280948</c:v>
                </c:pt>
                <c:pt idx="1616">
                  <c:v>0.32086800633500645</c:v>
                </c:pt>
                <c:pt idx="1617">
                  <c:v>0.32296205208503692</c:v>
                </c:pt>
                <c:pt idx="1618">
                  <c:v>0.32166062377698212</c:v>
                </c:pt>
                <c:pt idx="1619">
                  <c:v>0.32453427970979676</c:v>
                </c:pt>
                <c:pt idx="1620">
                  <c:v>0.33244456364627101</c:v>
                </c:pt>
                <c:pt idx="1621">
                  <c:v>0.3359893630132626</c:v>
                </c:pt>
                <c:pt idx="1622">
                  <c:v>0.3420832158779305</c:v>
                </c:pt>
                <c:pt idx="1623">
                  <c:v>0.31802691555145834</c:v>
                </c:pt>
                <c:pt idx="1624">
                  <c:v>0.31686271036374924</c:v>
                </c:pt>
                <c:pt idx="1625">
                  <c:v>0.31184162072705807</c:v>
                </c:pt>
                <c:pt idx="1626">
                  <c:v>0.30092487848116106</c:v>
                </c:pt>
                <c:pt idx="1627">
                  <c:v>0.30030832434086641</c:v>
                </c:pt>
                <c:pt idx="1628">
                  <c:v>0.30044982609003967</c:v>
                </c:pt>
                <c:pt idx="1629">
                  <c:v>0.30105041005277977</c:v>
                </c:pt>
                <c:pt idx="1630">
                  <c:v>0.30617285999667415</c:v>
                </c:pt>
                <c:pt idx="1631">
                  <c:v>0.30772638275373859</c:v>
                </c:pt>
                <c:pt idx="1632">
                  <c:v>0.31156909737349259</c:v>
                </c:pt>
                <c:pt idx="1633">
                  <c:v>0.30627988690252983</c:v>
                </c:pt>
                <c:pt idx="1634">
                  <c:v>0.30591247999441806</c:v>
                </c:pt>
                <c:pt idx="1635">
                  <c:v>0.29752490008243559</c:v>
                </c:pt>
                <c:pt idx="1636">
                  <c:v>0.30618721161999352</c:v>
                </c:pt>
                <c:pt idx="1637">
                  <c:v>0.31161509764487316</c:v>
                </c:pt>
                <c:pt idx="1638">
                  <c:v>0.31649622644093017</c:v>
                </c:pt>
                <c:pt idx="1639">
                  <c:v>0.31304701925075884</c:v>
                </c:pt>
                <c:pt idx="1640">
                  <c:v>0.31710536393041888</c:v>
                </c:pt>
                <c:pt idx="1641">
                  <c:v>0.29984827265775932</c:v>
                </c:pt>
                <c:pt idx="1642">
                  <c:v>0.28698328680956703</c:v>
                </c:pt>
                <c:pt idx="1643">
                  <c:v>0.28990811493554192</c:v>
                </c:pt>
                <c:pt idx="1644">
                  <c:v>0.27413341153501913</c:v>
                </c:pt>
                <c:pt idx="1645">
                  <c:v>0.26831675901629071</c:v>
                </c:pt>
                <c:pt idx="1646">
                  <c:v>0.2638349663849075</c:v>
                </c:pt>
                <c:pt idx="1647">
                  <c:v>0.26200157447673778</c:v>
                </c:pt>
                <c:pt idx="1648">
                  <c:v>0.26091462269860927</c:v>
                </c:pt>
                <c:pt idx="1649">
                  <c:v>0.2616085523384426</c:v>
                </c:pt>
                <c:pt idx="1650">
                  <c:v>0.25219768083973648</c:v>
                </c:pt>
                <c:pt idx="1651">
                  <c:v>0.24333762870304398</c:v>
                </c:pt>
                <c:pt idx="1652">
                  <c:v>0.23852290643347446</c:v>
                </c:pt>
                <c:pt idx="1653">
                  <c:v>0.24148835321375606</c:v>
                </c:pt>
                <c:pt idx="1654">
                  <c:v>0.24738923661214868</c:v>
                </c:pt>
                <c:pt idx="1655">
                  <c:v>0.25819003670179291</c:v>
                </c:pt>
                <c:pt idx="1656">
                  <c:v>0.26974926294035106</c:v>
                </c:pt>
                <c:pt idx="1657">
                  <c:v>0.26882505130970691</c:v>
                </c:pt>
                <c:pt idx="1658">
                  <c:v>0.27156867820242658</c:v>
                </c:pt>
                <c:pt idx="1659">
                  <c:v>0.25940870620716328</c:v>
                </c:pt>
                <c:pt idx="1660">
                  <c:v>0.2561773847402159</c:v>
                </c:pt>
                <c:pt idx="1661">
                  <c:v>0.28016906040985717</c:v>
                </c:pt>
                <c:pt idx="1662">
                  <c:v>0.27139830101082579</c:v>
                </c:pt>
                <c:pt idx="1663">
                  <c:v>0.27753831024885195</c:v>
                </c:pt>
                <c:pt idx="1664">
                  <c:v>0.27507744166205506</c:v>
                </c:pt>
                <c:pt idx="1665">
                  <c:v>0.28035322516175709</c:v>
                </c:pt>
                <c:pt idx="1666">
                  <c:v>0.28421980357743626</c:v>
                </c:pt>
                <c:pt idx="1667">
                  <c:v>0.28072698352817821</c:v>
                </c:pt>
                <c:pt idx="1668">
                  <c:v>0.284366189798965</c:v>
                </c:pt>
                <c:pt idx="1669">
                  <c:v>0.287379419700657</c:v>
                </c:pt>
                <c:pt idx="1670">
                  <c:v>0.28373674247565156</c:v>
                </c:pt>
                <c:pt idx="1671">
                  <c:v>0.28331511950258526</c:v>
                </c:pt>
                <c:pt idx="1672">
                  <c:v>0.28958328816988188</c:v>
                </c:pt>
                <c:pt idx="1673">
                  <c:v>0.27707849640287985</c:v>
                </c:pt>
                <c:pt idx="1674">
                  <c:v>0.28377540219105474</c:v>
                </c:pt>
                <c:pt idx="1675">
                  <c:v>0.29609412761767973</c:v>
                </c:pt>
                <c:pt idx="1676">
                  <c:v>0.28635073758603596</c:v>
                </c:pt>
                <c:pt idx="1677">
                  <c:v>0.28553848607079946</c:v>
                </c:pt>
                <c:pt idx="1678">
                  <c:v>0.28901574954986975</c:v>
                </c:pt>
                <c:pt idx="1679">
                  <c:v>0.29066153677996193</c:v>
                </c:pt>
                <c:pt idx="1680">
                  <c:v>0.2858399503883477</c:v>
                </c:pt>
                <c:pt idx="1681">
                  <c:v>0.28705159248783563</c:v>
                </c:pt>
                <c:pt idx="1682">
                  <c:v>0.28953262927139134</c:v>
                </c:pt>
                <c:pt idx="1683">
                  <c:v>0.28676343830600814</c:v>
                </c:pt>
                <c:pt idx="1684">
                  <c:v>0.28414875387830602</c:v>
                </c:pt>
                <c:pt idx="1685">
                  <c:v>0.26386091529562539</c:v>
                </c:pt>
                <c:pt idx="1686">
                  <c:v>0.26234054789159594</c:v>
                </c:pt>
                <c:pt idx="1687">
                  <c:v>0.26228719849128884</c:v>
                </c:pt>
                <c:pt idx="1688">
                  <c:v>0.25888002982501462</c:v>
                </c:pt>
                <c:pt idx="1689">
                  <c:v>0.25818481711361574</c:v>
                </c:pt>
                <c:pt idx="1690">
                  <c:v>0.26828647514076476</c:v>
                </c:pt>
                <c:pt idx="1691">
                  <c:v>0.27252264891232453</c:v>
                </c:pt>
                <c:pt idx="1692">
                  <c:v>0.27097201749118133</c:v>
                </c:pt>
                <c:pt idx="1693">
                  <c:v>0.27198910984058516</c:v>
                </c:pt>
                <c:pt idx="1694">
                  <c:v>0.29305059356733137</c:v>
                </c:pt>
                <c:pt idx="1695">
                  <c:v>0.28975484383421346</c:v>
                </c:pt>
                <c:pt idx="1696">
                  <c:v>0.29213646949791539</c:v>
                </c:pt>
                <c:pt idx="1697">
                  <c:v>0.29458433524645794</c:v>
                </c:pt>
                <c:pt idx="1698">
                  <c:v>0.29802215273018556</c:v>
                </c:pt>
                <c:pt idx="1699">
                  <c:v>0.30133212722061364</c:v>
                </c:pt>
                <c:pt idx="1700">
                  <c:v>0.37080671022754741</c:v>
                </c:pt>
                <c:pt idx="1701">
                  <c:v>0.41949442239405665</c:v>
                </c:pt>
                <c:pt idx="1702">
                  <c:v>0.44911998221427757</c:v>
                </c:pt>
                <c:pt idx="1703">
                  <c:v>0.46932341977184527</c:v>
                </c:pt>
                <c:pt idx="1704">
                  <c:v>0.48631194866142102</c:v>
                </c:pt>
                <c:pt idx="1705">
                  <c:v>0.49720560956112525</c:v>
                </c:pt>
                <c:pt idx="1706">
                  <c:v>0.52658119790576152</c:v>
                </c:pt>
                <c:pt idx="1707">
                  <c:v>0.54556524838158071</c:v>
                </c:pt>
                <c:pt idx="1708">
                  <c:v>0.55084587410641361</c:v>
                </c:pt>
                <c:pt idx="1709">
                  <c:v>0.54305958526262643</c:v>
                </c:pt>
                <c:pt idx="1710">
                  <c:v>0.54812184263316621</c:v>
                </c:pt>
                <c:pt idx="1711">
                  <c:v>0.54426285806644092</c:v>
                </c:pt>
                <c:pt idx="1712">
                  <c:v>0.55794178317512311</c:v>
                </c:pt>
                <c:pt idx="1713">
                  <c:v>0.55121174760123159</c:v>
                </c:pt>
                <c:pt idx="1714">
                  <c:v>0.55728803580600605</c:v>
                </c:pt>
                <c:pt idx="1715">
                  <c:v>0.5513873990925382</c:v>
                </c:pt>
                <c:pt idx="1716">
                  <c:v>0.55513815234725505</c:v>
                </c:pt>
                <c:pt idx="1717">
                  <c:v>0.54880801936554147</c:v>
                </c:pt>
                <c:pt idx="1718">
                  <c:v>0.52878837092057351</c:v>
                </c:pt>
                <c:pt idx="1719">
                  <c:v>0.51989390714900796</c:v>
                </c:pt>
                <c:pt idx="1720">
                  <c:v>0.48843165474219519</c:v>
                </c:pt>
                <c:pt idx="1721">
                  <c:v>0.49274630167355798</c:v>
                </c:pt>
                <c:pt idx="1722">
                  <c:v>0.46489978307471463</c:v>
                </c:pt>
                <c:pt idx="1723">
                  <c:v>0.46441624247481617</c:v>
                </c:pt>
                <c:pt idx="1724">
                  <c:v>0.46580529502892432</c:v>
                </c:pt>
                <c:pt idx="1725">
                  <c:v>0.42195501452616069</c:v>
                </c:pt>
                <c:pt idx="1726">
                  <c:v>0.35791923834430173</c:v>
                </c:pt>
                <c:pt idx="1727">
                  <c:v>0.34095228219256712</c:v>
                </c:pt>
                <c:pt idx="1728">
                  <c:v>0.21886391225757112</c:v>
                </c:pt>
                <c:pt idx="1729">
                  <c:v>0.18004951022409849</c:v>
                </c:pt>
                <c:pt idx="1730">
                  <c:v>0.17601742339256576</c:v>
                </c:pt>
                <c:pt idx="1731">
                  <c:v>0.18540032794594716</c:v>
                </c:pt>
                <c:pt idx="1732">
                  <c:v>0.18531478218214137</c:v>
                </c:pt>
                <c:pt idx="1733">
                  <c:v>0.18398479657583555</c:v>
                </c:pt>
                <c:pt idx="1734">
                  <c:v>0.18497955111997985</c:v>
                </c:pt>
                <c:pt idx="1735">
                  <c:v>0.18605805153402621</c:v>
                </c:pt>
                <c:pt idx="1736">
                  <c:v>0.18190797685011834</c:v>
                </c:pt>
                <c:pt idx="1737">
                  <c:v>0.18242799258895803</c:v>
                </c:pt>
                <c:pt idx="1738">
                  <c:v>0.18556256491890538</c:v>
                </c:pt>
                <c:pt idx="1739">
                  <c:v>0.18872007654784009</c:v>
                </c:pt>
                <c:pt idx="1740">
                  <c:v>0.18690340479469411</c:v>
                </c:pt>
                <c:pt idx="1741">
                  <c:v>0.18504140502882394</c:v>
                </c:pt>
                <c:pt idx="1742">
                  <c:v>0.18302852505432293</c:v>
                </c:pt>
                <c:pt idx="1743">
                  <c:v>0.19017319350883558</c:v>
                </c:pt>
                <c:pt idx="1744">
                  <c:v>0.27123680458881927</c:v>
                </c:pt>
                <c:pt idx="1745">
                  <c:v>0.37917467034213453</c:v>
                </c:pt>
                <c:pt idx="1746">
                  <c:v>0.41824271802144908</c:v>
                </c:pt>
                <c:pt idx="1747">
                  <c:v>0.46884471493019791</c:v>
                </c:pt>
                <c:pt idx="1748">
                  <c:v>0.49380441768596706</c:v>
                </c:pt>
                <c:pt idx="1749">
                  <c:v>0.50180036274445139</c:v>
                </c:pt>
                <c:pt idx="1750">
                  <c:v>0.4931174748472763</c:v>
                </c:pt>
                <c:pt idx="1751">
                  <c:v>0.50286455562755417</c:v>
                </c:pt>
                <c:pt idx="1752">
                  <c:v>0.51019294018768124</c:v>
                </c:pt>
                <c:pt idx="1753">
                  <c:v>0.52744142031831487</c:v>
                </c:pt>
                <c:pt idx="1754">
                  <c:v>0.53703061593337786</c:v>
                </c:pt>
                <c:pt idx="1755">
                  <c:v>0.55610877866351482</c:v>
                </c:pt>
                <c:pt idx="1756">
                  <c:v>0.55539664398642252</c:v>
                </c:pt>
                <c:pt idx="1757">
                  <c:v>0.57167560772795445</c:v>
                </c:pt>
                <c:pt idx="1758">
                  <c:v>0.56489213890754741</c:v>
                </c:pt>
                <c:pt idx="1759">
                  <c:v>0.55967075346394723</c:v>
                </c:pt>
                <c:pt idx="1760">
                  <c:v>0.55422341262075525</c:v>
                </c:pt>
                <c:pt idx="1761">
                  <c:v>0.55344418616043267</c:v>
                </c:pt>
                <c:pt idx="1762">
                  <c:v>0.55382559400395381</c:v>
                </c:pt>
                <c:pt idx="1763">
                  <c:v>0.54366570892328359</c:v>
                </c:pt>
                <c:pt idx="1764">
                  <c:v>0.5377192521498465</c:v>
                </c:pt>
                <c:pt idx="1765">
                  <c:v>0.52145323931411891</c:v>
                </c:pt>
                <c:pt idx="1766">
                  <c:v>0.50523350361060526</c:v>
                </c:pt>
                <c:pt idx="1767">
                  <c:v>0.48096567498681853</c:v>
                </c:pt>
                <c:pt idx="1768">
                  <c:v>0.44874970869996933</c:v>
                </c:pt>
                <c:pt idx="1769">
                  <c:v>0.43887649915900706</c:v>
                </c:pt>
                <c:pt idx="1770">
                  <c:v>0.41298825737981254</c:v>
                </c:pt>
                <c:pt idx="1771">
                  <c:v>0.38797758109190461</c:v>
                </c:pt>
                <c:pt idx="1772">
                  <c:v>0.35383650861839677</c:v>
                </c:pt>
                <c:pt idx="1773">
                  <c:v>0.28210977154957878</c:v>
                </c:pt>
                <c:pt idx="1774">
                  <c:v>0.2826611517613829</c:v>
                </c:pt>
                <c:pt idx="1775">
                  <c:v>0.26822002884866775</c:v>
                </c:pt>
                <c:pt idx="1776">
                  <c:v>0.27316859941639515</c:v>
                </c:pt>
                <c:pt idx="1777">
                  <c:v>0.27947565139362912</c:v>
                </c:pt>
                <c:pt idx="1778">
                  <c:v>0.27938975467685362</c:v>
                </c:pt>
                <c:pt idx="1779">
                  <c:v>0.30142310610390693</c:v>
                </c:pt>
                <c:pt idx="1780">
                  <c:v>0.28175908732023514</c:v>
                </c:pt>
                <c:pt idx="1781">
                  <c:v>0.28172179668730168</c:v>
                </c:pt>
                <c:pt idx="1782">
                  <c:v>0.27960998744808163</c:v>
                </c:pt>
                <c:pt idx="1783">
                  <c:v>0.27546402664025316</c:v>
                </c:pt>
                <c:pt idx="1784">
                  <c:v>0.28157919020757133</c:v>
                </c:pt>
                <c:pt idx="1785">
                  <c:v>0.30019035498741908</c:v>
                </c:pt>
                <c:pt idx="1786">
                  <c:v>0.30070952727565647</c:v>
                </c:pt>
                <c:pt idx="1787">
                  <c:v>0.31669794894549991</c:v>
                </c:pt>
                <c:pt idx="1788">
                  <c:v>0.31744044421695211</c:v>
                </c:pt>
                <c:pt idx="1789">
                  <c:v>0.31572851042452343</c:v>
                </c:pt>
                <c:pt idx="1790">
                  <c:v>0.33417102756214928</c:v>
                </c:pt>
                <c:pt idx="1791">
                  <c:v>0.35658985401292859</c:v>
                </c:pt>
                <c:pt idx="1792">
                  <c:v>0.3604406588079459</c:v>
                </c:pt>
                <c:pt idx="1793">
                  <c:v>0.36986804147474561</c:v>
                </c:pt>
                <c:pt idx="1794">
                  <c:v>0.37637161323373736</c:v>
                </c:pt>
                <c:pt idx="1795">
                  <c:v>0.37627259243926781</c:v>
                </c:pt>
                <c:pt idx="1796">
                  <c:v>0.35564239206463016</c:v>
                </c:pt>
                <c:pt idx="1797">
                  <c:v>0.3719550341371537</c:v>
                </c:pt>
                <c:pt idx="1798">
                  <c:v>0.36472514797766753</c:v>
                </c:pt>
                <c:pt idx="1799">
                  <c:v>0.3642681605647114</c:v>
                </c:pt>
                <c:pt idx="1800">
                  <c:v>0.36348099905325459</c:v>
                </c:pt>
                <c:pt idx="1801">
                  <c:v>0.36311942740183328</c:v>
                </c:pt>
                <c:pt idx="1802">
                  <c:v>0.36120941969843767</c:v>
                </c:pt>
                <c:pt idx="1803">
                  <c:v>0.35577426278298568</c:v>
                </c:pt>
                <c:pt idx="1804">
                  <c:v>0.35667984463061331</c:v>
                </c:pt>
                <c:pt idx="1805">
                  <c:v>0.35979382452647607</c:v>
                </c:pt>
                <c:pt idx="1806">
                  <c:v>0.35536920519638532</c:v>
                </c:pt>
                <c:pt idx="1807">
                  <c:v>0.34712590017122225</c:v>
                </c:pt>
                <c:pt idx="1808">
                  <c:v>0.3485186252748157</c:v>
                </c:pt>
                <c:pt idx="1809">
                  <c:v>0.32952028772609715</c:v>
                </c:pt>
                <c:pt idx="1810">
                  <c:v>0.33043843510256088</c:v>
                </c:pt>
                <c:pt idx="1811">
                  <c:v>0.33043875112768806</c:v>
                </c:pt>
                <c:pt idx="1812">
                  <c:v>0.33294001084779973</c:v>
                </c:pt>
                <c:pt idx="1813">
                  <c:v>0.33868569790446207</c:v>
                </c:pt>
                <c:pt idx="1814">
                  <c:v>0.3320642165692832</c:v>
                </c:pt>
                <c:pt idx="1815">
                  <c:v>0.32906747910430267</c:v>
                </c:pt>
                <c:pt idx="1816">
                  <c:v>0.33648631784021221</c:v>
                </c:pt>
                <c:pt idx="1817">
                  <c:v>0.3207606868719618</c:v>
                </c:pt>
                <c:pt idx="1818">
                  <c:v>0.31876616078858172</c:v>
                </c:pt>
                <c:pt idx="1819">
                  <c:v>0.32207985551892426</c:v>
                </c:pt>
                <c:pt idx="1820">
                  <c:v>0.30472343489735071</c:v>
                </c:pt>
                <c:pt idx="1821">
                  <c:v>0.30063210425306652</c:v>
                </c:pt>
                <c:pt idx="1822">
                  <c:v>0.30685608391573083</c:v>
                </c:pt>
                <c:pt idx="1823">
                  <c:v>0.29910471804207883</c:v>
                </c:pt>
                <c:pt idx="1824">
                  <c:v>0.29283781035800605</c:v>
                </c:pt>
                <c:pt idx="1825">
                  <c:v>0.29158839562732775</c:v>
                </c:pt>
                <c:pt idx="1826">
                  <c:v>0.29491442164875636</c:v>
                </c:pt>
                <c:pt idx="1827">
                  <c:v>0.27401708080329984</c:v>
                </c:pt>
                <c:pt idx="1828">
                  <c:v>0.27423065117595569</c:v>
                </c:pt>
                <c:pt idx="1829">
                  <c:v>0.2768065460032077</c:v>
                </c:pt>
                <c:pt idx="1830">
                  <c:v>0.27623453576274687</c:v>
                </c:pt>
                <c:pt idx="1831">
                  <c:v>0.27674504495641455</c:v>
                </c:pt>
                <c:pt idx="1832">
                  <c:v>0.27919971367702945</c:v>
                </c:pt>
                <c:pt idx="1833">
                  <c:v>0.27161667388988858</c:v>
                </c:pt>
                <c:pt idx="1834">
                  <c:v>0.27662318083554543</c:v>
                </c:pt>
                <c:pt idx="1835">
                  <c:v>0.27330334963569197</c:v>
                </c:pt>
                <c:pt idx="1836">
                  <c:v>0.27818864984070624</c:v>
                </c:pt>
                <c:pt idx="1837">
                  <c:v>0.28129514849696541</c:v>
                </c:pt>
                <c:pt idx="1838">
                  <c:v>0.28006266342669056</c:v>
                </c:pt>
                <c:pt idx="1839">
                  <c:v>0.27924436240567285</c:v>
                </c:pt>
                <c:pt idx="1840">
                  <c:v>0.2779699488841389</c:v>
                </c:pt>
                <c:pt idx="1841">
                  <c:v>0.2920271118431878</c:v>
                </c:pt>
                <c:pt idx="1842">
                  <c:v>0.28994137790296526</c:v>
                </c:pt>
                <c:pt idx="1843">
                  <c:v>0.28799425751631064</c:v>
                </c:pt>
                <c:pt idx="1844">
                  <c:v>0.28898078657212872</c:v>
                </c:pt>
                <c:pt idx="1845">
                  <c:v>0.28725283888763831</c:v>
                </c:pt>
                <c:pt idx="1846">
                  <c:v>0.28322768484079736</c:v>
                </c:pt>
                <c:pt idx="1847">
                  <c:v>0.27457690118252998</c:v>
                </c:pt>
                <c:pt idx="1848">
                  <c:v>0.2905143336928725</c:v>
                </c:pt>
                <c:pt idx="1849">
                  <c:v>0.28764709916349701</c:v>
                </c:pt>
                <c:pt idx="1850">
                  <c:v>0.2953993028790628</c:v>
                </c:pt>
                <c:pt idx="1851">
                  <c:v>0.29307707219114537</c:v>
                </c:pt>
                <c:pt idx="1852">
                  <c:v>0.30378851057698297</c:v>
                </c:pt>
                <c:pt idx="1853">
                  <c:v>0.30988048817677488</c:v>
                </c:pt>
                <c:pt idx="1854">
                  <c:v>0.32250194086759526</c:v>
                </c:pt>
                <c:pt idx="1855">
                  <c:v>0.32590654053148677</c:v>
                </c:pt>
                <c:pt idx="1856">
                  <c:v>0.32098348361186291</c:v>
                </c:pt>
                <c:pt idx="1857">
                  <c:v>0.32381575371469778</c:v>
                </c:pt>
                <c:pt idx="1858">
                  <c:v>0.34058107488429795</c:v>
                </c:pt>
                <c:pt idx="1859">
                  <c:v>0.35447331091418649</c:v>
                </c:pt>
                <c:pt idx="1860">
                  <c:v>0.35326385203788357</c:v>
                </c:pt>
                <c:pt idx="1861">
                  <c:v>0.35650894775879644</c:v>
                </c:pt>
                <c:pt idx="1862">
                  <c:v>0.38112192977392856</c:v>
                </c:pt>
                <c:pt idx="1863">
                  <c:v>0.38468923478275147</c:v>
                </c:pt>
                <c:pt idx="1864">
                  <c:v>0.37863263248533818</c:v>
                </c:pt>
                <c:pt idx="1865">
                  <c:v>0.3868948282158553</c:v>
                </c:pt>
                <c:pt idx="1866">
                  <c:v>0.38641875750751331</c:v>
                </c:pt>
                <c:pt idx="1867">
                  <c:v>0.39214929210991634</c:v>
                </c:pt>
                <c:pt idx="1868">
                  <c:v>0.39456797353619694</c:v>
                </c:pt>
                <c:pt idx="1869">
                  <c:v>0.39604673435318427</c:v>
                </c:pt>
                <c:pt idx="1870">
                  <c:v>0.40491900747836651</c:v>
                </c:pt>
                <c:pt idx="1871">
                  <c:v>0.3894559822184816</c:v>
                </c:pt>
                <c:pt idx="1872">
                  <c:v>0.39182849585069357</c:v>
                </c:pt>
                <c:pt idx="1873">
                  <c:v>0.40832261773636774</c:v>
                </c:pt>
                <c:pt idx="1874">
                  <c:v>0.42033328679567328</c:v>
                </c:pt>
                <c:pt idx="1875">
                  <c:v>0.4122346568917547</c:v>
                </c:pt>
                <c:pt idx="1876">
                  <c:v>0.41207473281707174</c:v>
                </c:pt>
                <c:pt idx="1877">
                  <c:v>0.41319211727424698</c:v>
                </c:pt>
                <c:pt idx="1878">
                  <c:v>0.40524344128445688</c:v>
                </c:pt>
                <c:pt idx="1879">
                  <c:v>0.40671307858055039</c:v>
                </c:pt>
                <c:pt idx="1880">
                  <c:v>0.40291743015428699</c:v>
                </c:pt>
                <c:pt idx="1881">
                  <c:v>0.39071154969155047</c:v>
                </c:pt>
                <c:pt idx="1882">
                  <c:v>0.38326192251897451</c:v>
                </c:pt>
                <c:pt idx="1883">
                  <c:v>0.37459415834167742</c:v>
                </c:pt>
                <c:pt idx="1884">
                  <c:v>0.3828415279593807</c:v>
                </c:pt>
                <c:pt idx="1885">
                  <c:v>0.38851370145506542</c:v>
                </c:pt>
                <c:pt idx="1886">
                  <c:v>0.40248853442434979</c:v>
                </c:pt>
                <c:pt idx="1887">
                  <c:v>0.40228360163213273</c:v>
                </c:pt>
                <c:pt idx="1888">
                  <c:v>0.42685646817257189</c:v>
                </c:pt>
                <c:pt idx="1889">
                  <c:v>0.42263199059228401</c:v>
                </c:pt>
                <c:pt idx="1890">
                  <c:v>0.45215084972035191</c:v>
                </c:pt>
                <c:pt idx="1891">
                  <c:v>0.4872555538043325</c:v>
                </c:pt>
                <c:pt idx="1892">
                  <c:v>0.47077065610749158</c:v>
                </c:pt>
                <c:pt idx="1893">
                  <c:v>0.48923037619283471</c:v>
                </c:pt>
                <c:pt idx="1894">
                  <c:v>0.4950943893991287</c:v>
                </c:pt>
                <c:pt idx="1895">
                  <c:v>0.49133576632173931</c:v>
                </c:pt>
                <c:pt idx="1896">
                  <c:v>0.48653925145085208</c:v>
                </c:pt>
                <c:pt idx="1897">
                  <c:v>0.49719024558725489</c:v>
                </c:pt>
                <c:pt idx="1898">
                  <c:v>0.49005133244101573</c:v>
                </c:pt>
                <c:pt idx="1899">
                  <c:v>0.50850040407979635</c:v>
                </c:pt>
                <c:pt idx="1900">
                  <c:v>0.51537993454900399</c:v>
                </c:pt>
                <c:pt idx="1901">
                  <c:v>0.51956154251993603</c:v>
                </c:pt>
                <c:pt idx="1902">
                  <c:v>0.53384462739980065</c:v>
                </c:pt>
                <c:pt idx="1903">
                  <c:v>0.4965701121700376</c:v>
                </c:pt>
                <c:pt idx="1904">
                  <c:v>0.47286264926686766</c:v>
                </c:pt>
                <c:pt idx="1905">
                  <c:v>0.46434443505327022</c:v>
                </c:pt>
                <c:pt idx="1906">
                  <c:v>0.42394361552329268</c:v>
                </c:pt>
                <c:pt idx="1907">
                  <c:v>0.41416202856202866</c:v>
                </c:pt>
                <c:pt idx="1908">
                  <c:v>0.39050722177145536</c:v>
                </c:pt>
                <c:pt idx="1909">
                  <c:v>0.380914649072635</c:v>
                </c:pt>
                <c:pt idx="1910">
                  <c:v>0.37267185064010844</c:v>
                </c:pt>
                <c:pt idx="1911">
                  <c:v>0.34322240007123694</c:v>
                </c:pt>
                <c:pt idx="1912">
                  <c:v>0.33768865204946058</c:v>
                </c:pt>
                <c:pt idx="1913">
                  <c:v>0.31057938837331767</c:v>
                </c:pt>
                <c:pt idx="1914">
                  <c:v>0.31087234891618304</c:v>
                </c:pt>
                <c:pt idx="1915">
                  <c:v>0.20269666740057862</c:v>
                </c:pt>
                <c:pt idx="1916">
                  <c:v>0.1928294114405204</c:v>
                </c:pt>
                <c:pt idx="1917">
                  <c:v>0.16694400428102446</c:v>
                </c:pt>
                <c:pt idx="1918">
                  <c:v>0.171770855857837</c:v>
                </c:pt>
                <c:pt idx="1919">
                  <c:v>0.17800258796412044</c:v>
                </c:pt>
                <c:pt idx="1920">
                  <c:v>0.18512175078598478</c:v>
                </c:pt>
                <c:pt idx="1921">
                  <c:v>0.1832059646292703</c:v>
                </c:pt>
                <c:pt idx="1922">
                  <c:v>0.19010054233858201</c:v>
                </c:pt>
                <c:pt idx="1923">
                  <c:v>0.19168088927530944</c:v>
                </c:pt>
                <c:pt idx="1924">
                  <c:v>0.19067147913699831</c:v>
                </c:pt>
                <c:pt idx="1925">
                  <c:v>0.19221885185095205</c:v>
                </c:pt>
                <c:pt idx="1926">
                  <c:v>0.19278621944939667</c:v>
                </c:pt>
                <c:pt idx="1927">
                  <c:v>0.19288853329285446</c:v>
                </c:pt>
                <c:pt idx="1928">
                  <c:v>0.19119596904818945</c:v>
                </c:pt>
                <c:pt idx="1929">
                  <c:v>0.19204206401425866</c:v>
                </c:pt>
                <c:pt idx="1930">
                  <c:v>0.19230035901603607</c:v>
                </c:pt>
                <c:pt idx="1931">
                  <c:v>0.19333301777687023</c:v>
                </c:pt>
                <c:pt idx="1932">
                  <c:v>0.19942672906249428</c:v>
                </c:pt>
                <c:pt idx="1933">
                  <c:v>0.26492791548401134</c:v>
                </c:pt>
                <c:pt idx="1934">
                  <c:v>0.28260399215622994</c:v>
                </c:pt>
                <c:pt idx="1935">
                  <c:v>0.34686471092422161</c:v>
                </c:pt>
                <c:pt idx="1936">
                  <c:v>0.39847973937915016</c:v>
                </c:pt>
                <c:pt idx="1937">
                  <c:v>0.40359272361099413</c:v>
                </c:pt>
                <c:pt idx="1938">
                  <c:v>0.43380498815464086</c:v>
                </c:pt>
                <c:pt idx="1939">
                  <c:v>0.47108042761301772</c:v>
                </c:pt>
                <c:pt idx="1940">
                  <c:v>0.49218219107132399</c:v>
                </c:pt>
                <c:pt idx="1941">
                  <c:v>0.49634081838353727</c:v>
                </c:pt>
                <c:pt idx="1942">
                  <c:v>0.52914756444077415</c:v>
                </c:pt>
                <c:pt idx="1943">
                  <c:v>0.55349635788012397</c:v>
                </c:pt>
                <c:pt idx="1944">
                  <c:v>0.55235806579679436</c:v>
                </c:pt>
                <c:pt idx="1945">
                  <c:v>0.55980874982228745</c:v>
                </c:pt>
                <c:pt idx="1946">
                  <c:v>0.55477389136185551</c:v>
                </c:pt>
                <c:pt idx="1947">
                  <c:v>0.54803576464954395</c:v>
                </c:pt>
                <c:pt idx="1948">
                  <c:v>0.56934289936411853</c:v>
                </c:pt>
                <c:pt idx="1949">
                  <c:v>0.56013913967759899</c:v>
                </c:pt>
                <c:pt idx="1950">
                  <c:v>0.54657174596404912</c:v>
                </c:pt>
                <c:pt idx="1951">
                  <c:v>0.53291719738383181</c:v>
                </c:pt>
                <c:pt idx="1952">
                  <c:v>0.53220841399125429</c:v>
                </c:pt>
                <c:pt idx="1953">
                  <c:v>0.52434741617594438</c:v>
                </c:pt>
                <c:pt idx="1954">
                  <c:v>0.51585048219407559</c:v>
                </c:pt>
                <c:pt idx="1955">
                  <c:v>0.49137746877936528</c:v>
                </c:pt>
                <c:pt idx="1956">
                  <c:v>0.4569926901717325</c:v>
                </c:pt>
                <c:pt idx="1957">
                  <c:v>0.43018803894361357</c:v>
                </c:pt>
                <c:pt idx="1958">
                  <c:v>0.39120478116738272</c:v>
                </c:pt>
                <c:pt idx="1959">
                  <c:v>0.38063733151635493</c:v>
                </c:pt>
                <c:pt idx="1960">
                  <c:v>0.32904444505079139</c:v>
                </c:pt>
                <c:pt idx="1961">
                  <c:v>0.3066643746349782</c:v>
                </c:pt>
                <c:pt idx="1962">
                  <c:v>0.28842490389046316</c:v>
                </c:pt>
                <c:pt idx="1963">
                  <c:v>0.28788159227706561</c:v>
                </c:pt>
                <c:pt idx="1964">
                  <c:v>0.28830483589323114</c:v>
                </c:pt>
                <c:pt idx="1965">
                  <c:v>0.32510893852670997</c:v>
                </c:pt>
                <c:pt idx="1966">
                  <c:v>0.33026506854851057</c:v>
                </c:pt>
                <c:pt idx="1967">
                  <c:v>0.31702580214145043</c:v>
                </c:pt>
                <c:pt idx="1968">
                  <c:v>0.31824424121051686</c:v>
                </c:pt>
                <c:pt idx="1969">
                  <c:v>0.31650834543182271</c:v>
                </c:pt>
                <c:pt idx="1970">
                  <c:v>0.31684807771576023</c:v>
                </c:pt>
                <c:pt idx="1971">
                  <c:v>0.3286800283599603</c:v>
                </c:pt>
                <c:pt idx="1972">
                  <c:v>0.3274886396706258</c:v>
                </c:pt>
                <c:pt idx="1973">
                  <c:v>0.32779008057814274</c:v>
                </c:pt>
                <c:pt idx="1974">
                  <c:v>0.32712031723506602</c:v>
                </c:pt>
                <c:pt idx="1975">
                  <c:v>0.32298347452741138</c:v>
                </c:pt>
                <c:pt idx="1976">
                  <c:v>0.32394104481221231</c:v>
                </c:pt>
                <c:pt idx="1977">
                  <c:v>0.31739556917728562</c:v>
                </c:pt>
                <c:pt idx="1978">
                  <c:v>0.32680222297629469</c:v>
                </c:pt>
                <c:pt idx="1979">
                  <c:v>0.33275414984980922</c:v>
                </c:pt>
                <c:pt idx="1980">
                  <c:v>0.33929192160843424</c:v>
                </c:pt>
                <c:pt idx="1981">
                  <c:v>0.34602527248108039</c:v>
                </c:pt>
                <c:pt idx="1982">
                  <c:v>0.35316625762739878</c:v>
                </c:pt>
                <c:pt idx="1983">
                  <c:v>0.34602605284648214</c:v>
                </c:pt>
                <c:pt idx="1984">
                  <c:v>0.34644223295837762</c:v>
                </c:pt>
                <c:pt idx="1985">
                  <c:v>0.34851192476848553</c:v>
                </c:pt>
                <c:pt idx="1986">
                  <c:v>0.3358169571502998</c:v>
                </c:pt>
                <c:pt idx="1987">
                  <c:v>0.33800459337070388</c:v>
                </c:pt>
                <c:pt idx="1988">
                  <c:v>0.34490547964412888</c:v>
                </c:pt>
                <c:pt idx="1989">
                  <c:v>0.33853347081812529</c:v>
                </c:pt>
                <c:pt idx="1990">
                  <c:v>0.33859510375452939</c:v>
                </c:pt>
                <c:pt idx="1991">
                  <c:v>0.31857299751107243</c:v>
                </c:pt>
                <c:pt idx="1992">
                  <c:v>0.30701733239850648</c:v>
                </c:pt>
                <c:pt idx="1993">
                  <c:v>0.32224281391331966</c:v>
                </c:pt>
                <c:pt idx="1994">
                  <c:v>0.30942418985065578</c:v>
                </c:pt>
                <c:pt idx="1995">
                  <c:v>0.28422738725882951</c:v>
                </c:pt>
                <c:pt idx="1996">
                  <c:v>0.28039491202700084</c:v>
                </c:pt>
                <c:pt idx="1997">
                  <c:v>0.31008729075823788</c:v>
                </c:pt>
                <c:pt idx="1998">
                  <c:v>0.31010185225926995</c:v>
                </c:pt>
                <c:pt idx="1999">
                  <c:v>0.30990194243047281</c:v>
                </c:pt>
                <c:pt idx="2000">
                  <c:v>0.31352476046457545</c:v>
                </c:pt>
                <c:pt idx="2001">
                  <c:v>0.29716874393997228</c:v>
                </c:pt>
                <c:pt idx="2002">
                  <c:v>0.29927267164519505</c:v>
                </c:pt>
                <c:pt idx="2003">
                  <c:v>0.3120499810198899</c:v>
                </c:pt>
                <c:pt idx="2004">
                  <c:v>0.31197542466673306</c:v>
                </c:pt>
                <c:pt idx="2005">
                  <c:v>0.31256438078519555</c:v>
                </c:pt>
                <c:pt idx="2006">
                  <c:v>0.31146591863785567</c:v>
                </c:pt>
                <c:pt idx="2007">
                  <c:v>0.31766887373390917</c:v>
                </c:pt>
                <c:pt idx="2008">
                  <c:v>0.30136793405478896</c:v>
                </c:pt>
                <c:pt idx="2009">
                  <c:v>0.29765990331574682</c:v>
                </c:pt>
                <c:pt idx="2010">
                  <c:v>0.29627595351224995</c:v>
                </c:pt>
                <c:pt idx="2011">
                  <c:v>0.29441263439050014</c:v>
                </c:pt>
                <c:pt idx="2012">
                  <c:v>0.29308262845980437</c:v>
                </c:pt>
                <c:pt idx="2013">
                  <c:v>0.29128599789480869</c:v>
                </c:pt>
                <c:pt idx="2014">
                  <c:v>0.30041839182530672</c:v>
                </c:pt>
                <c:pt idx="2015">
                  <c:v>0.29938485758148015</c:v>
                </c:pt>
                <c:pt idx="2016">
                  <c:v>0.30179124929605394</c:v>
                </c:pt>
                <c:pt idx="2017">
                  <c:v>0.31982213624934597</c:v>
                </c:pt>
                <c:pt idx="2018">
                  <c:v>0.31580843380978096</c:v>
                </c:pt>
                <c:pt idx="2019">
                  <c:v>0.31479283046950429</c:v>
                </c:pt>
                <c:pt idx="2020">
                  <c:v>0.31608026780439286</c:v>
                </c:pt>
                <c:pt idx="2021">
                  <c:v>0.32038951984404579</c:v>
                </c:pt>
                <c:pt idx="2022">
                  <c:v>0.32048039124664301</c:v>
                </c:pt>
                <c:pt idx="2023">
                  <c:v>0.30175031500567434</c:v>
                </c:pt>
                <c:pt idx="2024">
                  <c:v>0.31021415381177719</c:v>
                </c:pt>
                <c:pt idx="2025">
                  <c:v>0.3264193438844758</c:v>
                </c:pt>
                <c:pt idx="2026">
                  <c:v>0.34456986937793999</c:v>
                </c:pt>
                <c:pt idx="2027">
                  <c:v>0.32437883689233404</c:v>
                </c:pt>
                <c:pt idx="2028">
                  <c:v>0.33716150932060102</c:v>
                </c:pt>
                <c:pt idx="2029">
                  <c:v>0.34366494272908976</c:v>
                </c:pt>
                <c:pt idx="2030">
                  <c:v>0.34541634362349982</c:v>
                </c:pt>
                <c:pt idx="2031">
                  <c:v>0.34629407868119388</c:v>
                </c:pt>
                <c:pt idx="2032">
                  <c:v>0.34002888645086515</c:v>
                </c:pt>
                <c:pt idx="2033">
                  <c:v>0.32255457035415719</c:v>
                </c:pt>
                <c:pt idx="2034">
                  <c:v>0.32085190953507492</c:v>
                </c:pt>
                <c:pt idx="2035">
                  <c:v>0.3208500767290981</c:v>
                </c:pt>
                <c:pt idx="2036">
                  <c:v>0.3180432858937226</c:v>
                </c:pt>
                <c:pt idx="2037">
                  <c:v>0.31436749026659455</c:v>
                </c:pt>
                <c:pt idx="2038">
                  <c:v>0.333820614593342</c:v>
                </c:pt>
                <c:pt idx="2039">
                  <c:v>0.32580564101667642</c:v>
                </c:pt>
                <c:pt idx="2040">
                  <c:v>0.31777744428937205</c:v>
                </c:pt>
                <c:pt idx="2041">
                  <c:v>0.31590957586886864</c:v>
                </c:pt>
                <c:pt idx="2042">
                  <c:v>0.31153158905884792</c:v>
                </c:pt>
                <c:pt idx="2043">
                  <c:v>0.31247310218207702</c:v>
                </c:pt>
                <c:pt idx="2044">
                  <c:v>0.31298844627607775</c:v>
                </c:pt>
                <c:pt idx="2045">
                  <c:v>0.31665549659453446</c:v>
                </c:pt>
                <c:pt idx="2046">
                  <c:v>0.31320215242034932</c:v>
                </c:pt>
                <c:pt idx="2047">
                  <c:v>0.30427311975521015</c:v>
                </c:pt>
                <c:pt idx="2048">
                  <c:v>0.30811760883538691</c:v>
                </c:pt>
                <c:pt idx="2049">
                  <c:v>0.31192745423451007</c:v>
                </c:pt>
                <c:pt idx="2050">
                  <c:v>0.31212075151171559</c:v>
                </c:pt>
                <c:pt idx="2051">
                  <c:v>0.31923099843687952</c:v>
                </c:pt>
                <c:pt idx="2052">
                  <c:v>0.3199420622980842</c:v>
                </c:pt>
                <c:pt idx="2053">
                  <c:v>0.3233856912274965</c:v>
                </c:pt>
                <c:pt idx="2054">
                  <c:v>0.32602655866129732</c:v>
                </c:pt>
                <c:pt idx="2055">
                  <c:v>0.32227190143671913</c:v>
                </c:pt>
                <c:pt idx="2056">
                  <c:v>0.29625140259178878</c:v>
                </c:pt>
                <c:pt idx="2057">
                  <c:v>0.29151146623139745</c:v>
                </c:pt>
                <c:pt idx="2058">
                  <c:v>0.28166497824065195</c:v>
                </c:pt>
                <c:pt idx="2059">
                  <c:v>0.27864017102587257</c:v>
                </c:pt>
                <c:pt idx="2060">
                  <c:v>0.29096504924954275</c:v>
                </c:pt>
                <c:pt idx="2061">
                  <c:v>0.29129740081310446</c:v>
                </c:pt>
                <c:pt idx="2062">
                  <c:v>0.29098060663646075</c:v>
                </c:pt>
                <c:pt idx="2063">
                  <c:v>0.29573374710852757</c:v>
                </c:pt>
                <c:pt idx="2064">
                  <c:v>0.29746232895337116</c:v>
                </c:pt>
                <c:pt idx="2065">
                  <c:v>0.30278164737251179</c:v>
                </c:pt>
                <c:pt idx="2066">
                  <c:v>0.30051137685914414</c:v>
                </c:pt>
                <c:pt idx="2067">
                  <c:v>0.30090580210261436</c:v>
                </c:pt>
                <c:pt idx="2068">
                  <c:v>0.27812359703795558</c:v>
                </c:pt>
                <c:pt idx="2069">
                  <c:v>0.27821380294020148</c:v>
                </c:pt>
                <c:pt idx="2070">
                  <c:v>0.27622126439629202</c:v>
                </c:pt>
                <c:pt idx="2071">
                  <c:v>0.26395631159173932</c:v>
                </c:pt>
                <c:pt idx="2072">
                  <c:v>0.26368268546968837</c:v>
                </c:pt>
                <c:pt idx="2073">
                  <c:v>0.26628459214773176</c:v>
                </c:pt>
                <c:pt idx="2074">
                  <c:v>0.2662314753221296</c:v>
                </c:pt>
                <c:pt idx="2075">
                  <c:v>0.26465793090992412</c:v>
                </c:pt>
                <c:pt idx="2076">
                  <c:v>0.26489047296446028</c:v>
                </c:pt>
                <c:pt idx="2077">
                  <c:v>0.25763202840200178</c:v>
                </c:pt>
                <c:pt idx="2078">
                  <c:v>0.25834194698801105</c:v>
                </c:pt>
                <c:pt idx="2079">
                  <c:v>0.25520854371078966</c:v>
                </c:pt>
                <c:pt idx="2080">
                  <c:v>0.25115914709256387</c:v>
                </c:pt>
                <c:pt idx="2081">
                  <c:v>0.24095282639711968</c:v>
                </c:pt>
                <c:pt idx="2082">
                  <c:v>0.24273826138289276</c:v>
                </c:pt>
                <c:pt idx="2083">
                  <c:v>0.24779898460630731</c:v>
                </c:pt>
                <c:pt idx="2084">
                  <c:v>0.23999772342517256</c:v>
                </c:pt>
                <c:pt idx="2085">
                  <c:v>0.24049390971292103</c:v>
                </c:pt>
                <c:pt idx="2086">
                  <c:v>0.24021771847020595</c:v>
                </c:pt>
                <c:pt idx="2087">
                  <c:v>0.24867371784687367</c:v>
                </c:pt>
                <c:pt idx="2088">
                  <c:v>0.24818588201617722</c:v>
                </c:pt>
                <c:pt idx="2089">
                  <c:v>0.26485952325882861</c:v>
                </c:pt>
                <c:pt idx="2090">
                  <c:v>0.25569106468938246</c:v>
                </c:pt>
                <c:pt idx="2091">
                  <c:v>0.25539059769472816</c:v>
                </c:pt>
                <c:pt idx="2092">
                  <c:v>0.25668220881030601</c:v>
                </c:pt>
                <c:pt idx="2093">
                  <c:v>0.24533202135211102</c:v>
                </c:pt>
                <c:pt idx="2094">
                  <c:v>0.2699997550536668</c:v>
                </c:pt>
                <c:pt idx="2095">
                  <c:v>0.27195141330053629</c:v>
                </c:pt>
                <c:pt idx="2096">
                  <c:v>0.27409444604329813</c:v>
                </c:pt>
                <c:pt idx="2097">
                  <c:v>0.27619312153172443</c:v>
                </c:pt>
                <c:pt idx="2098">
                  <c:v>0.28615358788097778</c:v>
                </c:pt>
                <c:pt idx="2099">
                  <c:v>0.28781862777682282</c:v>
                </c:pt>
                <c:pt idx="2100">
                  <c:v>0.3014918843539684</c:v>
                </c:pt>
                <c:pt idx="2101">
                  <c:v>0.30991581271831292</c:v>
                </c:pt>
                <c:pt idx="2102">
                  <c:v>0.31123821302450899</c:v>
                </c:pt>
                <c:pt idx="2103">
                  <c:v>0.32825638084522957</c:v>
                </c:pt>
                <c:pt idx="2104">
                  <c:v>0.33263938539881971</c:v>
                </c:pt>
                <c:pt idx="2105">
                  <c:v>0.33444288988833187</c:v>
                </c:pt>
                <c:pt idx="2106">
                  <c:v>0.34338643038219263</c:v>
                </c:pt>
                <c:pt idx="2107">
                  <c:v>0.34416524452138042</c:v>
                </c:pt>
                <c:pt idx="2108">
                  <c:v>0.35046767965254738</c:v>
                </c:pt>
                <c:pt idx="2109">
                  <c:v>0.34568286373641766</c:v>
                </c:pt>
                <c:pt idx="2110">
                  <c:v>0.34654177729548025</c:v>
                </c:pt>
                <c:pt idx="2111">
                  <c:v>0.35025845051566107</c:v>
                </c:pt>
                <c:pt idx="2112">
                  <c:v>0.34970155336057518</c:v>
                </c:pt>
                <c:pt idx="2113">
                  <c:v>0.35207271408773677</c:v>
                </c:pt>
                <c:pt idx="2114">
                  <c:v>0.35262029073492296</c:v>
                </c:pt>
                <c:pt idx="2115">
                  <c:v>0.3388740878705076</c:v>
                </c:pt>
                <c:pt idx="2116">
                  <c:v>0.34565832165148558</c:v>
                </c:pt>
                <c:pt idx="2117">
                  <c:v>0.3330558620683931</c:v>
                </c:pt>
                <c:pt idx="2118">
                  <c:v>0.31508985006264767</c:v>
                </c:pt>
                <c:pt idx="2119">
                  <c:v>0.32833999094361976</c:v>
                </c:pt>
                <c:pt idx="2120">
                  <c:v>0.33279659254563526</c:v>
                </c:pt>
                <c:pt idx="2121">
                  <c:v>0.33316766526968261</c:v>
                </c:pt>
                <c:pt idx="2122">
                  <c:v>0.33175596088814485</c:v>
                </c:pt>
                <c:pt idx="2123">
                  <c:v>0.33222385077565997</c:v>
                </c:pt>
                <c:pt idx="2124">
                  <c:v>0.31572798222870407</c:v>
                </c:pt>
                <c:pt idx="2125">
                  <c:v>0.31515356297396824</c:v>
                </c:pt>
                <c:pt idx="2126">
                  <c:v>0.31579808279946309</c:v>
                </c:pt>
                <c:pt idx="2127">
                  <c:v>0.31684624831599234</c:v>
                </c:pt>
                <c:pt idx="2128">
                  <c:v>0.31045687681376177</c:v>
                </c:pt>
                <c:pt idx="2129">
                  <c:v>0.30849089635684213</c:v>
                </c:pt>
                <c:pt idx="2130">
                  <c:v>0.31527985850898455</c:v>
                </c:pt>
                <c:pt idx="2131">
                  <c:v>0.30730299048686632</c:v>
                </c:pt>
                <c:pt idx="2132">
                  <c:v>0.30694327315971232</c:v>
                </c:pt>
                <c:pt idx="2133">
                  <c:v>0.27595487967724353</c:v>
                </c:pt>
                <c:pt idx="2134">
                  <c:v>0.27696694949671397</c:v>
                </c:pt>
                <c:pt idx="2135">
                  <c:v>0.28677397047316022</c:v>
                </c:pt>
                <c:pt idx="2136">
                  <c:v>0.29836615325966692</c:v>
                </c:pt>
                <c:pt idx="2137">
                  <c:v>0.29911348542080846</c:v>
                </c:pt>
                <c:pt idx="2138">
                  <c:v>0.28031443635276077</c:v>
                </c:pt>
                <c:pt idx="2139">
                  <c:v>0.27834504413571487</c:v>
                </c:pt>
                <c:pt idx="2140">
                  <c:v>0.27698209196393925</c:v>
                </c:pt>
                <c:pt idx="2141">
                  <c:v>0.27385330795990059</c:v>
                </c:pt>
                <c:pt idx="2142">
                  <c:v>0.27366198679584886</c:v>
                </c:pt>
                <c:pt idx="2143">
                  <c:v>0.26983096678239232</c:v>
                </c:pt>
                <c:pt idx="2144">
                  <c:v>0.26768190262852187</c:v>
                </c:pt>
                <c:pt idx="2145">
                  <c:v>0.26085771778652322</c:v>
                </c:pt>
                <c:pt idx="2146">
                  <c:v>0.26949884894826548</c:v>
                </c:pt>
                <c:pt idx="2147">
                  <c:v>0.2683812012469276</c:v>
                </c:pt>
                <c:pt idx="2148">
                  <c:v>0.26887775976621536</c:v>
                </c:pt>
                <c:pt idx="2149">
                  <c:v>0.27751425559046788</c:v>
                </c:pt>
                <c:pt idx="2150">
                  <c:v>0.27396997197248746</c:v>
                </c:pt>
                <c:pt idx="2151">
                  <c:v>0.28580435746234456</c:v>
                </c:pt>
                <c:pt idx="2152">
                  <c:v>0.28620910350443307</c:v>
                </c:pt>
                <c:pt idx="2153">
                  <c:v>0.28634848923978146</c:v>
                </c:pt>
                <c:pt idx="2154">
                  <c:v>0.28182688641506204</c:v>
                </c:pt>
                <c:pt idx="2155">
                  <c:v>0.3009937682938742</c:v>
                </c:pt>
                <c:pt idx="2156">
                  <c:v>0.30883358785581988</c:v>
                </c:pt>
                <c:pt idx="2157">
                  <c:v>0.3046306490832924</c:v>
                </c:pt>
                <c:pt idx="2158">
                  <c:v>0.30392393225457698</c:v>
                </c:pt>
                <c:pt idx="2159">
                  <c:v>0.32012595530539578</c:v>
                </c:pt>
                <c:pt idx="2160">
                  <c:v>0.31354457540643949</c:v>
                </c:pt>
                <c:pt idx="2161">
                  <c:v>0.31359131686626207</c:v>
                </c:pt>
                <c:pt idx="2162">
                  <c:v>0.3105537278459447</c:v>
                </c:pt>
                <c:pt idx="2163">
                  <c:v>0.31583776481073972</c:v>
                </c:pt>
                <c:pt idx="2164">
                  <c:v>0.31470268861562345</c:v>
                </c:pt>
                <c:pt idx="2165">
                  <c:v>0.31311782962826806</c:v>
                </c:pt>
                <c:pt idx="2166">
                  <c:v>0.29877020895591477</c:v>
                </c:pt>
                <c:pt idx="2167">
                  <c:v>0.30320219518281183</c:v>
                </c:pt>
                <c:pt idx="2168">
                  <c:v>0.31690045982635651</c:v>
                </c:pt>
                <c:pt idx="2169">
                  <c:v>0.3254230858566135</c:v>
                </c:pt>
                <c:pt idx="2170">
                  <c:v>0.34045229036903601</c:v>
                </c:pt>
                <c:pt idx="2171">
                  <c:v>0.343836628431263</c:v>
                </c:pt>
                <c:pt idx="2172">
                  <c:v>0.34561037611672835</c:v>
                </c:pt>
                <c:pt idx="2173">
                  <c:v>0.35558308737305611</c:v>
                </c:pt>
                <c:pt idx="2174">
                  <c:v>0.35621599983911428</c:v>
                </c:pt>
                <c:pt idx="2175">
                  <c:v>0.35930367658564</c:v>
                </c:pt>
                <c:pt idx="2176">
                  <c:v>0.35780143014738341</c:v>
                </c:pt>
                <c:pt idx="2177">
                  <c:v>0.35764268824414702</c:v>
                </c:pt>
                <c:pt idx="2178">
                  <c:v>0.36836703343907679</c:v>
                </c:pt>
                <c:pt idx="2179">
                  <c:v>0.34267381380608586</c:v>
                </c:pt>
                <c:pt idx="2180">
                  <c:v>0.34217456607434188</c:v>
                </c:pt>
                <c:pt idx="2181">
                  <c:v>0.34930702532827879</c:v>
                </c:pt>
                <c:pt idx="2182">
                  <c:v>0.35661129694441857</c:v>
                </c:pt>
                <c:pt idx="2183">
                  <c:v>0.35707103793433131</c:v>
                </c:pt>
                <c:pt idx="2184">
                  <c:v>0.36021771927559604</c:v>
                </c:pt>
                <c:pt idx="2185">
                  <c:v>0.35692765334961674</c:v>
                </c:pt>
                <c:pt idx="2186">
                  <c:v>0.34820750603362327</c:v>
                </c:pt>
                <c:pt idx="2187">
                  <c:v>0.35271839908274072</c:v>
                </c:pt>
                <c:pt idx="2188">
                  <c:v>0.35349639002331118</c:v>
                </c:pt>
                <c:pt idx="2189">
                  <c:v>0.3472366500016818</c:v>
                </c:pt>
                <c:pt idx="2190">
                  <c:v>0.3438767047718439</c:v>
                </c:pt>
                <c:pt idx="2191">
                  <c:v>0.33946043550849725</c:v>
                </c:pt>
                <c:pt idx="2192">
                  <c:v>0.33550115862363528</c:v>
                </c:pt>
                <c:pt idx="2193">
                  <c:v>0.32786645331095304</c:v>
                </c:pt>
                <c:pt idx="2194">
                  <c:v>0.32014220399617588</c:v>
                </c:pt>
                <c:pt idx="2195">
                  <c:v>0.32091006062265304</c:v>
                </c:pt>
                <c:pt idx="2196">
                  <c:v>0.32236846557390791</c:v>
                </c:pt>
                <c:pt idx="2197">
                  <c:v>0.31504429815519946</c:v>
                </c:pt>
                <c:pt idx="2198">
                  <c:v>0.33237229875905927</c:v>
                </c:pt>
                <c:pt idx="2199">
                  <c:v>0.32749171735454191</c:v>
                </c:pt>
                <c:pt idx="2200">
                  <c:v>0.33012714305075164</c:v>
                </c:pt>
                <c:pt idx="2201">
                  <c:v>0.32918706342302984</c:v>
                </c:pt>
                <c:pt idx="2202">
                  <c:v>0.33243068844357127</c:v>
                </c:pt>
                <c:pt idx="2203">
                  <c:v>0.33248558625988128</c:v>
                </c:pt>
                <c:pt idx="2204">
                  <c:v>0.33002632637338231</c:v>
                </c:pt>
                <c:pt idx="2205">
                  <c:v>0.32661413865206401</c:v>
                </c:pt>
                <c:pt idx="2206">
                  <c:v>0.32752326832463419</c:v>
                </c:pt>
                <c:pt idx="2207">
                  <c:v>0.34950029346901479</c:v>
                </c:pt>
                <c:pt idx="2208">
                  <c:v>0.33640259349041907</c:v>
                </c:pt>
                <c:pt idx="2209">
                  <c:v>0.33487095972838515</c:v>
                </c:pt>
                <c:pt idx="2210">
                  <c:v>0.33718351671815983</c:v>
                </c:pt>
                <c:pt idx="2211">
                  <c:v>0.32024276606082414</c:v>
                </c:pt>
                <c:pt idx="2212">
                  <c:v>0.30712412607812661</c:v>
                </c:pt>
                <c:pt idx="2213">
                  <c:v>0.31864643015878807</c:v>
                </c:pt>
                <c:pt idx="2214">
                  <c:v>0.31445906098687143</c:v>
                </c:pt>
                <c:pt idx="2215">
                  <c:v>0.29981123301102458</c:v>
                </c:pt>
                <c:pt idx="2216">
                  <c:v>0.30054098283812725</c:v>
                </c:pt>
                <c:pt idx="2217">
                  <c:v>0.30342941155054332</c:v>
                </c:pt>
                <c:pt idx="2218">
                  <c:v>0.32137369366109408</c:v>
                </c:pt>
                <c:pt idx="2219">
                  <c:v>0.33403276826785916</c:v>
                </c:pt>
                <c:pt idx="2220">
                  <c:v>0.34534034125534996</c:v>
                </c:pt>
                <c:pt idx="2221">
                  <c:v>0.34399912330631788</c:v>
                </c:pt>
                <c:pt idx="2222">
                  <c:v>0.34965071902471712</c:v>
                </c:pt>
                <c:pt idx="2223">
                  <c:v>0.34967426546416086</c:v>
                </c:pt>
                <c:pt idx="2224">
                  <c:v>0.42335464870636169</c:v>
                </c:pt>
                <c:pt idx="2225">
                  <c:v>0.46905164483825362</c:v>
                </c:pt>
                <c:pt idx="2226">
                  <c:v>0.53128904338722249</c:v>
                </c:pt>
                <c:pt idx="2227">
                  <c:v>0.56569554658875287</c:v>
                </c:pt>
                <c:pt idx="2228">
                  <c:v>0.60074672285940778</c:v>
                </c:pt>
                <c:pt idx="2229">
                  <c:v>0.63321227076175957</c:v>
                </c:pt>
                <c:pt idx="2230">
                  <c:v>0.65708801665749339</c:v>
                </c:pt>
                <c:pt idx="2231">
                  <c:v>0.67081147251718365</c:v>
                </c:pt>
                <c:pt idx="2232">
                  <c:v>0.67905812885590389</c:v>
                </c:pt>
                <c:pt idx="2233">
                  <c:v>0.70287009791106458</c:v>
                </c:pt>
                <c:pt idx="2234">
                  <c:v>0.69870858870222829</c:v>
                </c:pt>
                <c:pt idx="2235">
                  <c:v>0.69084173576070218</c:v>
                </c:pt>
                <c:pt idx="2236">
                  <c:v>0.6786341288477663</c:v>
                </c:pt>
                <c:pt idx="2237">
                  <c:v>0.68450472965235132</c:v>
                </c:pt>
                <c:pt idx="2238">
                  <c:v>0.70795108289241815</c:v>
                </c:pt>
                <c:pt idx="2239">
                  <c:v>0.7110498655008658</c:v>
                </c:pt>
                <c:pt idx="2240">
                  <c:v>0.69178470258985902</c:v>
                </c:pt>
                <c:pt idx="2241">
                  <c:v>0.6788393364822497</c:v>
                </c:pt>
                <c:pt idx="2242">
                  <c:v>0.67166203483587339</c:v>
                </c:pt>
                <c:pt idx="2243">
                  <c:v>0.62141202804203932</c:v>
                </c:pt>
                <c:pt idx="2244">
                  <c:v>0.58005890045762576</c:v>
                </c:pt>
                <c:pt idx="2245">
                  <c:v>0.5381052889842266</c:v>
                </c:pt>
                <c:pt idx="2246">
                  <c:v>0.48439762278947879</c:v>
                </c:pt>
                <c:pt idx="2247">
                  <c:v>0.46131972647420888</c:v>
                </c:pt>
                <c:pt idx="2248">
                  <c:v>0.47149523703587487</c:v>
                </c:pt>
                <c:pt idx="2249">
                  <c:v>0.4546888000656889</c:v>
                </c:pt>
                <c:pt idx="2250">
                  <c:v>0.43744716456764027</c:v>
                </c:pt>
                <c:pt idx="2251">
                  <c:v>0.39642276989287206</c:v>
                </c:pt>
                <c:pt idx="2252">
                  <c:v>0.3642256510625882</c:v>
                </c:pt>
                <c:pt idx="2253">
                  <c:v>0.29841759708900018</c:v>
                </c:pt>
                <c:pt idx="2254">
                  <c:v>0.29844375424646186</c:v>
                </c:pt>
                <c:pt idx="2255">
                  <c:v>0.29873212587542813</c:v>
                </c:pt>
                <c:pt idx="2256">
                  <c:v>0.29370314730846692</c:v>
                </c:pt>
                <c:pt idx="2257">
                  <c:v>0.30023569702807384</c:v>
                </c:pt>
                <c:pt idx="2258">
                  <c:v>0.29951609052471112</c:v>
                </c:pt>
                <c:pt idx="2259">
                  <c:v>0.29822002425930011</c:v>
                </c:pt>
                <c:pt idx="2260">
                  <c:v>0.28581105405410567</c:v>
                </c:pt>
                <c:pt idx="2261">
                  <c:v>0.29395908129424941</c:v>
                </c:pt>
                <c:pt idx="2262">
                  <c:v>0.29229332491972737</c:v>
                </c:pt>
                <c:pt idx="2263">
                  <c:v>0.29579066277669624</c:v>
                </c:pt>
                <c:pt idx="2264">
                  <c:v>0.29631333839124308</c:v>
                </c:pt>
                <c:pt idx="2265">
                  <c:v>0.29824386325746671</c:v>
                </c:pt>
                <c:pt idx="2266">
                  <c:v>0.30377961612123633</c:v>
                </c:pt>
                <c:pt idx="2267">
                  <c:v>0.46516556678584514</c:v>
                </c:pt>
                <c:pt idx="2268">
                  <c:v>0.57266424350409362</c:v>
                </c:pt>
                <c:pt idx="2269">
                  <c:v>0.74938209397867328</c:v>
                </c:pt>
                <c:pt idx="2270">
                  <c:v>0.84432825697973757</c:v>
                </c:pt>
                <c:pt idx="2271">
                  <c:v>0.91708550563110436</c:v>
                </c:pt>
                <c:pt idx="2272">
                  <c:v>0.98082833049188589</c:v>
                </c:pt>
                <c:pt idx="2273">
                  <c:v>1.011056306955358</c:v>
                </c:pt>
                <c:pt idx="2274">
                  <c:v>1.0667784825930073</c:v>
                </c:pt>
                <c:pt idx="2275">
                  <c:v>1.1222239680811481</c:v>
                </c:pt>
                <c:pt idx="2276">
                  <c:v>1.5060433095362169</c:v>
                </c:pt>
                <c:pt idx="2277">
                  <c:v>1.789905892300542</c:v>
                </c:pt>
                <c:pt idx="2278">
                  <c:v>2.0245690458905723</c:v>
                </c:pt>
                <c:pt idx="2279">
                  <c:v>2.2213846184880786</c:v>
                </c:pt>
                <c:pt idx="2280">
                  <c:v>2.3920374019345618</c:v>
                </c:pt>
                <c:pt idx="2281">
                  <c:v>2.5414503714833838</c:v>
                </c:pt>
                <c:pt idx="2282">
                  <c:v>2.674702046732405</c:v>
                </c:pt>
                <c:pt idx="2283">
                  <c:v>2.7935807069300411</c:v>
                </c:pt>
                <c:pt idx="2284">
                  <c:v>2.8978632053102724</c:v>
                </c:pt>
                <c:pt idx="2285">
                  <c:v>2.9909762875525292</c:v>
                </c:pt>
                <c:pt idx="2286">
                  <c:v>3.0690770506035996</c:v>
                </c:pt>
                <c:pt idx="2287">
                  <c:v>3.1351082192197852</c:v>
                </c:pt>
                <c:pt idx="2288">
                  <c:v>3.1957076560828463</c:v>
                </c:pt>
                <c:pt idx="2289">
                  <c:v>3.2455269463201248</c:v>
                </c:pt>
                <c:pt idx="2290">
                  <c:v>3.2880552526116289</c:v>
                </c:pt>
                <c:pt idx="2291">
                  <c:v>3.3152274545059544</c:v>
                </c:pt>
                <c:pt idx="2292">
                  <c:v>3.2973429668077778</c:v>
                </c:pt>
                <c:pt idx="2293">
                  <c:v>3.2729573897718822</c:v>
                </c:pt>
                <c:pt idx="2294">
                  <c:v>3.2560311824202768</c:v>
                </c:pt>
                <c:pt idx="2295">
                  <c:v>3.2326202285102652</c:v>
                </c:pt>
                <c:pt idx="2296">
                  <c:v>3.2082985273695468</c:v>
                </c:pt>
                <c:pt idx="2297">
                  <c:v>3.1194549881200064</c:v>
                </c:pt>
                <c:pt idx="2298">
                  <c:v>3.0267268085841139</c:v>
                </c:pt>
                <c:pt idx="2299">
                  <c:v>2.8756596821642089</c:v>
                </c:pt>
                <c:pt idx="2300">
                  <c:v>2.7375017523261929</c:v>
                </c:pt>
                <c:pt idx="2301">
                  <c:v>2.5935841793959136</c:v>
                </c:pt>
                <c:pt idx="2302">
                  <c:v>2.4285217210060339</c:v>
                </c:pt>
                <c:pt idx="2303">
                  <c:v>2.2812875734014408</c:v>
                </c:pt>
                <c:pt idx="2304">
                  <c:v>2.0341035040468922</c:v>
                </c:pt>
                <c:pt idx="2305">
                  <c:v>1.7437245299630888</c:v>
                </c:pt>
                <c:pt idx="2306">
                  <c:v>1.7545669162007229</c:v>
                </c:pt>
                <c:pt idx="2307">
                  <c:v>1.7775605909113272</c:v>
                </c:pt>
                <c:pt idx="2308">
                  <c:v>1.7633967479526151</c:v>
                </c:pt>
                <c:pt idx="2309">
                  <c:v>1.7489823028509832</c:v>
                </c:pt>
                <c:pt idx="2310">
                  <c:v>1.7246657228172451</c:v>
                </c:pt>
                <c:pt idx="2311">
                  <c:v>1.6894332540018182</c:v>
                </c:pt>
                <c:pt idx="2312">
                  <c:v>1.6461147938458229</c:v>
                </c:pt>
                <c:pt idx="2313">
                  <c:v>1.5886982773724874</c:v>
                </c:pt>
                <c:pt idx="2314">
                  <c:v>1.5153334424663523</c:v>
                </c:pt>
                <c:pt idx="2315">
                  <c:v>1.4351875014447313</c:v>
                </c:pt>
                <c:pt idx="2316">
                  <c:v>1.3426010017550052</c:v>
                </c:pt>
                <c:pt idx="2317">
                  <c:v>1.2309104907294715</c:v>
                </c:pt>
                <c:pt idx="2318">
                  <c:v>1.1091619456351949</c:v>
                </c:pt>
                <c:pt idx="2319">
                  <c:v>0.9360608606056251</c:v>
                </c:pt>
                <c:pt idx="2320">
                  <c:v>0.71224113594434191</c:v>
                </c:pt>
                <c:pt idx="2321">
                  <c:v>0.3167671286371993</c:v>
                </c:pt>
                <c:pt idx="2322">
                  <c:v>0.31685548667680796</c:v>
                </c:pt>
                <c:pt idx="2323">
                  <c:v>0.30659147893713395</c:v>
                </c:pt>
                <c:pt idx="2324">
                  <c:v>0.29863770554012276</c:v>
                </c:pt>
                <c:pt idx="2325">
                  <c:v>0.30007917965723857</c:v>
                </c:pt>
                <c:pt idx="2326">
                  <c:v>0.29653518660544603</c:v>
                </c:pt>
                <c:pt idx="2327">
                  <c:v>0.29026536493382077</c:v>
                </c:pt>
                <c:pt idx="2328">
                  <c:v>0.29170660583374869</c:v>
                </c:pt>
                <c:pt idx="2329">
                  <c:v>0.28128788004275179</c:v>
                </c:pt>
                <c:pt idx="2330">
                  <c:v>0.27989599789014874</c:v>
                </c:pt>
                <c:pt idx="2331">
                  <c:v>0.27699714093391176</c:v>
                </c:pt>
                <c:pt idx="2332">
                  <c:v>0.27512465803108088</c:v>
                </c:pt>
                <c:pt idx="2333">
                  <c:v>0.29005301556680724</c:v>
                </c:pt>
                <c:pt idx="2334">
                  <c:v>0.28082353105276686</c:v>
                </c:pt>
                <c:pt idx="2335">
                  <c:v>0.28498973288893503</c:v>
                </c:pt>
                <c:pt idx="2336">
                  <c:v>0.30215305486015359</c:v>
                </c:pt>
                <c:pt idx="2337">
                  <c:v>0.28770053868799789</c:v>
                </c:pt>
                <c:pt idx="2338">
                  <c:v>0.30527853305532193</c:v>
                </c:pt>
                <c:pt idx="2339">
                  <c:v>0.30164171824491548</c:v>
                </c:pt>
                <c:pt idx="2340">
                  <c:v>0.30444676281256894</c:v>
                </c:pt>
                <c:pt idx="2341">
                  <c:v>0.31358329777929655</c:v>
                </c:pt>
                <c:pt idx="2342">
                  <c:v>0.32835895906511986</c:v>
                </c:pt>
                <c:pt idx="2343">
                  <c:v>0.3280836399308647</c:v>
                </c:pt>
                <c:pt idx="2344">
                  <c:v>0.32456532440505925</c:v>
                </c:pt>
                <c:pt idx="2345">
                  <c:v>0.32581088080790654</c:v>
                </c:pt>
                <c:pt idx="2346">
                  <c:v>0.32703895120895526</c:v>
                </c:pt>
                <c:pt idx="2347">
                  <c:v>0.32491624768944255</c:v>
                </c:pt>
                <c:pt idx="2348">
                  <c:v>0.28273201352862387</c:v>
                </c:pt>
                <c:pt idx="2349">
                  <c:v>0.30232690375297733</c:v>
                </c:pt>
                <c:pt idx="2350">
                  <c:v>0.28134741881608444</c:v>
                </c:pt>
                <c:pt idx="2351">
                  <c:v>0.3024427112612797</c:v>
                </c:pt>
                <c:pt idx="2352">
                  <c:v>0.30625579179545642</c:v>
                </c:pt>
                <c:pt idx="2353">
                  <c:v>0.30876944335216383</c:v>
                </c:pt>
                <c:pt idx="2354">
                  <c:v>0.31411411693703839</c:v>
                </c:pt>
                <c:pt idx="2355">
                  <c:v>0.31760082352486407</c:v>
                </c:pt>
                <c:pt idx="2356">
                  <c:v>0.315989622849078</c:v>
                </c:pt>
                <c:pt idx="2357">
                  <c:v>0.33084958042243501</c:v>
                </c:pt>
                <c:pt idx="2358">
                  <c:v>0.34234578375031072</c:v>
                </c:pt>
                <c:pt idx="2359">
                  <c:v>0.3477306532972218</c:v>
                </c:pt>
                <c:pt idx="2360">
                  <c:v>0.35178141514451094</c:v>
                </c:pt>
                <c:pt idx="2361">
                  <c:v>0.36648625382157357</c:v>
                </c:pt>
                <c:pt idx="2362">
                  <c:v>0.38111553869611986</c:v>
                </c:pt>
                <c:pt idx="2363">
                  <c:v>0.37603250008949868</c:v>
                </c:pt>
                <c:pt idx="2364">
                  <c:v>0.38972250289960125</c:v>
                </c:pt>
                <c:pt idx="2365">
                  <c:v>0.38555757159607568</c:v>
                </c:pt>
                <c:pt idx="2366">
                  <c:v>0.37845843728563833</c:v>
                </c:pt>
                <c:pt idx="2367">
                  <c:v>0.37129868047391568</c:v>
                </c:pt>
                <c:pt idx="2368">
                  <c:v>0.36219057403784372</c:v>
                </c:pt>
                <c:pt idx="2369">
                  <c:v>0.37745862956819576</c:v>
                </c:pt>
                <c:pt idx="2370">
                  <c:v>0.373787502218139</c:v>
                </c:pt>
                <c:pt idx="2371">
                  <c:v>0.36924075520263416</c:v>
                </c:pt>
                <c:pt idx="2372">
                  <c:v>0.34854728964830817</c:v>
                </c:pt>
                <c:pt idx="2373">
                  <c:v>0.34947742521576797</c:v>
                </c:pt>
                <c:pt idx="2374">
                  <c:v>0.34660195589671233</c:v>
                </c:pt>
                <c:pt idx="2375">
                  <c:v>0.34241070661918305</c:v>
                </c:pt>
                <c:pt idx="2376">
                  <c:v>0.35140868685045484</c:v>
                </c:pt>
                <c:pt idx="2377">
                  <c:v>0.36686615843443793</c:v>
                </c:pt>
                <c:pt idx="2378">
                  <c:v>0.36485867285014573</c:v>
                </c:pt>
                <c:pt idx="2379">
                  <c:v>0.36347909940477985</c:v>
                </c:pt>
                <c:pt idx="2380">
                  <c:v>0.37113746450722468</c:v>
                </c:pt>
                <c:pt idx="2381">
                  <c:v>0.3619560904444038</c:v>
                </c:pt>
                <c:pt idx="2382">
                  <c:v>0.36576077613246105</c:v>
                </c:pt>
                <c:pt idx="2383">
                  <c:v>0.36088383843527927</c:v>
                </c:pt>
                <c:pt idx="2384">
                  <c:v>0.35538419193728071</c:v>
                </c:pt>
                <c:pt idx="2385">
                  <c:v>0.35517762668510194</c:v>
                </c:pt>
                <c:pt idx="2386">
                  <c:v>0.3603590888073932</c:v>
                </c:pt>
                <c:pt idx="2387">
                  <c:v>0.36009028907570367</c:v>
                </c:pt>
                <c:pt idx="2388">
                  <c:v>0.36624395679194188</c:v>
                </c:pt>
                <c:pt idx="2389">
                  <c:v>0.36528227908941857</c:v>
                </c:pt>
                <c:pt idx="2390">
                  <c:v>0.37440012472075546</c:v>
                </c:pt>
                <c:pt idx="2391">
                  <c:v>0.35915406556169527</c:v>
                </c:pt>
                <c:pt idx="2392">
                  <c:v>0.35393983050995309</c:v>
                </c:pt>
                <c:pt idx="2393">
                  <c:v>0.35026848317337789</c:v>
                </c:pt>
                <c:pt idx="2394">
                  <c:v>0.33461590515161405</c:v>
                </c:pt>
                <c:pt idx="2395">
                  <c:v>0.33221740682324385</c:v>
                </c:pt>
                <c:pt idx="2396">
                  <c:v>0.33187875601537858</c:v>
                </c:pt>
                <c:pt idx="2397">
                  <c:v>0.33638949139113655</c:v>
                </c:pt>
                <c:pt idx="2398">
                  <c:v>0.33921315250470407</c:v>
                </c:pt>
                <c:pt idx="2399">
                  <c:v>0.32461732282841488</c:v>
                </c:pt>
                <c:pt idx="2400">
                  <c:v>0.32813453729041542</c:v>
                </c:pt>
                <c:pt idx="2401">
                  <c:v>0.34371410740691655</c:v>
                </c:pt>
                <c:pt idx="2402">
                  <c:v>0.34898683068946923</c:v>
                </c:pt>
                <c:pt idx="2403">
                  <c:v>0.35019244721459003</c:v>
                </c:pt>
                <c:pt idx="2404">
                  <c:v>0.35074763732711456</c:v>
                </c:pt>
                <c:pt idx="2405">
                  <c:v>0.3554661253230309</c:v>
                </c:pt>
                <c:pt idx="2406">
                  <c:v>0.34762310187416678</c:v>
                </c:pt>
                <c:pt idx="2407">
                  <c:v>0.33802553476298058</c:v>
                </c:pt>
                <c:pt idx="2408">
                  <c:v>0.35239800480610856</c:v>
                </c:pt>
                <c:pt idx="2409">
                  <c:v>0.35510119005462731</c:v>
                </c:pt>
                <c:pt idx="2410">
                  <c:v>0.34315744060422015</c:v>
                </c:pt>
                <c:pt idx="2411">
                  <c:v>0.33727447254735343</c:v>
                </c:pt>
                <c:pt idx="2412">
                  <c:v>0.34217752688971531</c:v>
                </c:pt>
                <c:pt idx="2413">
                  <c:v>0.35146448687850418</c:v>
                </c:pt>
                <c:pt idx="2414">
                  <c:v>0.35838628176279497</c:v>
                </c:pt>
                <c:pt idx="2415">
                  <c:v>0.35382247688638691</c:v>
                </c:pt>
                <c:pt idx="2416">
                  <c:v>0.3671633690605558</c:v>
                </c:pt>
                <c:pt idx="2417">
                  <c:v>0.361391941389824</c:v>
                </c:pt>
                <c:pt idx="2418">
                  <c:v>0.35165118764739589</c:v>
                </c:pt>
                <c:pt idx="2419">
                  <c:v>0.35502491185489399</c:v>
                </c:pt>
                <c:pt idx="2420">
                  <c:v>0.35279905328932798</c:v>
                </c:pt>
                <c:pt idx="2421">
                  <c:v>0.35796460629394217</c:v>
                </c:pt>
                <c:pt idx="2422">
                  <c:v>0.35517809169724374</c:v>
                </c:pt>
                <c:pt idx="2423">
                  <c:v>0.35641592364230479</c:v>
                </c:pt>
                <c:pt idx="2424">
                  <c:v>0.3581470816785704</c:v>
                </c:pt>
                <c:pt idx="2425">
                  <c:v>0.36455734896454123</c:v>
                </c:pt>
                <c:pt idx="2426">
                  <c:v>0.37026574624205078</c:v>
                </c:pt>
                <c:pt idx="2427">
                  <c:v>0.37330491307347341</c:v>
                </c:pt>
                <c:pt idx="2428">
                  <c:v>0.37193705557470652</c:v>
                </c:pt>
                <c:pt idx="2429">
                  <c:v>0.37928679184797315</c:v>
                </c:pt>
                <c:pt idx="2430">
                  <c:v>0.38304974351334486</c:v>
                </c:pt>
                <c:pt idx="2431">
                  <c:v>0.36415728991004492</c:v>
                </c:pt>
                <c:pt idx="2432">
                  <c:v>0.36764776721847514</c:v>
                </c:pt>
                <c:pt idx="2433">
                  <c:v>0.37493002347943072</c:v>
                </c:pt>
                <c:pt idx="2434">
                  <c:v>0.38417526297846816</c:v>
                </c:pt>
                <c:pt idx="2435">
                  <c:v>0.38698587970354403</c:v>
                </c:pt>
                <c:pt idx="2436">
                  <c:v>0.39178996255448051</c:v>
                </c:pt>
                <c:pt idx="2437">
                  <c:v>0.39732475868288047</c:v>
                </c:pt>
                <c:pt idx="2438">
                  <c:v>0.38357211426890025</c:v>
                </c:pt>
                <c:pt idx="2439">
                  <c:v>0.36719008983809864</c:v>
                </c:pt>
                <c:pt idx="2440">
                  <c:v>0.37774482267167819</c:v>
                </c:pt>
                <c:pt idx="2441">
                  <c:v>0.39273852437848894</c:v>
                </c:pt>
                <c:pt idx="2442">
                  <c:v>0.40234798684861989</c:v>
                </c:pt>
                <c:pt idx="2443">
                  <c:v>0.40767733828021957</c:v>
                </c:pt>
                <c:pt idx="2444">
                  <c:v>0.40268861611841072</c:v>
                </c:pt>
                <c:pt idx="2445">
                  <c:v>0.4301902146897556</c:v>
                </c:pt>
                <c:pt idx="2446">
                  <c:v>0.38077725600392393</c:v>
                </c:pt>
                <c:pt idx="2447">
                  <c:v>0.4160377652396729</c:v>
                </c:pt>
                <c:pt idx="2448">
                  <c:v>0.43143469780528171</c:v>
                </c:pt>
                <c:pt idx="2449">
                  <c:v>0.4664874378896674</c:v>
                </c:pt>
                <c:pt idx="2450">
                  <c:v>0.11425663148166298</c:v>
                </c:pt>
                <c:pt idx="2451">
                  <c:v>0.14554120915130589</c:v>
                </c:pt>
              </c:numCache>
            </c:numRef>
          </c:val>
          <c:smooth val="0"/>
          <c:extLst>
            <c:ext xmlns:c16="http://schemas.microsoft.com/office/drawing/2014/chart" uri="{C3380CC4-5D6E-409C-BE32-E72D297353CC}">
              <c16:uniqueId val="{00000001-C63F-4F2D-AF7D-1A69B6104F41}"/>
            </c:ext>
          </c:extLst>
        </c:ser>
        <c:ser>
          <c:idx val="2"/>
          <c:order val="2"/>
          <c:tx>
            <c:strRef>
              <c:f>'Data Preparation'!$J$1</c:f>
              <c:strCache>
                <c:ptCount val="1"/>
                <c:pt idx="0">
                  <c:v>PUMP FAILURE (1 or 0)</c:v>
                </c:pt>
              </c:strCache>
            </c:strRef>
          </c:tx>
          <c:spPr>
            <a:ln w="28575" cap="rnd">
              <a:solidFill>
                <a:schemeClr val="accent3"/>
              </a:solidFill>
              <a:round/>
            </a:ln>
            <a:effectLst/>
          </c:spPr>
          <c:marker>
            <c:symbol val="none"/>
          </c:marker>
          <c:val>
            <c:numRef>
              <c:f>'Data Preparation'!$J$2:$J$2455</c:f>
              <c:numCache>
                <c:formatCode>#,##0.00</c:formatCode>
                <c:ptCount val="2454"/>
                <c:pt idx="0" formatCode="0.0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0</c:v>
                </c:pt>
                <c:pt idx="1802">
                  <c:v>0</c:v>
                </c:pt>
                <c:pt idx="1803">
                  <c:v>0</c:v>
                </c:pt>
                <c:pt idx="1804">
                  <c:v>0</c:v>
                </c:pt>
                <c:pt idx="1805">
                  <c:v>0</c:v>
                </c:pt>
                <c:pt idx="1806">
                  <c:v>0</c:v>
                </c:pt>
                <c:pt idx="1807">
                  <c:v>0</c:v>
                </c:pt>
                <c:pt idx="1808">
                  <c:v>0</c:v>
                </c:pt>
                <c:pt idx="1809">
                  <c:v>0</c:v>
                </c:pt>
                <c:pt idx="1810">
                  <c:v>0</c:v>
                </c:pt>
                <c:pt idx="1811">
                  <c:v>0</c:v>
                </c:pt>
                <c:pt idx="1812">
                  <c:v>0</c:v>
                </c:pt>
                <c:pt idx="1813">
                  <c:v>0</c:v>
                </c:pt>
                <c:pt idx="1814">
                  <c:v>0</c:v>
                </c:pt>
                <c:pt idx="1815">
                  <c:v>0</c:v>
                </c:pt>
                <c:pt idx="1816">
                  <c:v>0</c:v>
                </c:pt>
                <c:pt idx="1817">
                  <c:v>0</c:v>
                </c:pt>
                <c:pt idx="1818">
                  <c:v>0</c:v>
                </c:pt>
                <c:pt idx="1819">
                  <c:v>0</c:v>
                </c:pt>
                <c:pt idx="1820">
                  <c:v>0</c:v>
                </c:pt>
                <c:pt idx="1821">
                  <c:v>0</c:v>
                </c:pt>
                <c:pt idx="1822">
                  <c:v>0</c:v>
                </c:pt>
                <c:pt idx="1823">
                  <c:v>0</c:v>
                </c:pt>
                <c:pt idx="1824">
                  <c:v>0</c:v>
                </c:pt>
                <c:pt idx="1825">
                  <c:v>0</c:v>
                </c:pt>
                <c:pt idx="1826">
                  <c:v>0</c:v>
                </c:pt>
                <c:pt idx="1827">
                  <c:v>0</c:v>
                </c:pt>
                <c:pt idx="1828">
                  <c:v>0</c:v>
                </c:pt>
                <c:pt idx="1829">
                  <c:v>0</c:v>
                </c:pt>
                <c:pt idx="1830">
                  <c:v>0</c:v>
                </c:pt>
                <c:pt idx="1831">
                  <c:v>0</c:v>
                </c:pt>
                <c:pt idx="1832">
                  <c:v>0</c:v>
                </c:pt>
                <c:pt idx="1833">
                  <c:v>0</c:v>
                </c:pt>
                <c:pt idx="1834">
                  <c:v>0</c:v>
                </c:pt>
                <c:pt idx="1835">
                  <c:v>0</c:v>
                </c:pt>
                <c:pt idx="1836">
                  <c:v>0</c:v>
                </c:pt>
                <c:pt idx="1837">
                  <c:v>0</c:v>
                </c:pt>
                <c:pt idx="1838">
                  <c:v>0</c:v>
                </c:pt>
                <c:pt idx="1839">
                  <c:v>0</c:v>
                </c:pt>
                <c:pt idx="1840">
                  <c:v>0</c:v>
                </c:pt>
                <c:pt idx="1841">
                  <c:v>0</c:v>
                </c:pt>
                <c:pt idx="1842">
                  <c:v>0</c:v>
                </c:pt>
                <c:pt idx="1843">
                  <c:v>0</c:v>
                </c:pt>
                <c:pt idx="1844">
                  <c:v>0</c:v>
                </c:pt>
                <c:pt idx="1845">
                  <c:v>0</c:v>
                </c:pt>
                <c:pt idx="1846">
                  <c:v>0</c:v>
                </c:pt>
                <c:pt idx="1847">
                  <c:v>0</c:v>
                </c:pt>
                <c:pt idx="1848">
                  <c:v>0</c:v>
                </c:pt>
                <c:pt idx="1849">
                  <c:v>0</c:v>
                </c:pt>
                <c:pt idx="1850">
                  <c:v>0</c:v>
                </c:pt>
                <c:pt idx="1851">
                  <c:v>0</c:v>
                </c:pt>
                <c:pt idx="1852">
                  <c:v>0</c:v>
                </c:pt>
                <c:pt idx="1853">
                  <c:v>0</c:v>
                </c:pt>
                <c:pt idx="1854">
                  <c:v>0</c:v>
                </c:pt>
                <c:pt idx="1855">
                  <c:v>0</c:v>
                </c:pt>
                <c:pt idx="1856">
                  <c:v>0</c:v>
                </c:pt>
                <c:pt idx="1857">
                  <c:v>0</c:v>
                </c:pt>
                <c:pt idx="1858">
                  <c:v>0</c:v>
                </c:pt>
                <c:pt idx="1859">
                  <c:v>0</c:v>
                </c:pt>
                <c:pt idx="1860">
                  <c:v>0</c:v>
                </c:pt>
                <c:pt idx="1861">
                  <c:v>0</c:v>
                </c:pt>
                <c:pt idx="1862">
                  <c:v>0</c:v>
                </c:pt>
                <c:pt idx="1863">
                  <c:v>0</c:v>
                </c:pt>
                <c:pt idx="1864">
                  <c:v>0</c:v>
                </c:pt>
                <c:pt idx="1865">
                  <c:v>0</c:v>
                </c:pt>
                <c:pt idx="1866">
                  <c:v>0</c:v>
                </c:pt>
                <c:pt idx="1867">
                  <c:v>0</c:v>
                </c:pt>
                <c:pt idx="1868">
                  <c:v>0</c:v>
                </c:pt>
                <c:pt idx="1869">
                  <c:v>0</c:v>
                </c:pt>
                <c:pt idx="1870">
                  <c:v>0</c:v>
                </c:pt>
                <c:pt idx="1871">
                  <c:v>0</c:v>
                </c:pt>
                <c:pt idx="1872">
                  <c:v>0</c:v>
                </c:pt>
                <c:pt idx="1873">
                  <c:v>0</c:v>
                </c:pt>
                <c:pt idx="1874">
                  <c:v>0</c:v>
                </c:pt>
                <c:pt idx="1875">
                  <c:v>0</c:v>
                </c:pt>
                <c:pt idx="1876">
                  <c:v>0</c:v>
                </c:pt>
                <c:pt idx="1877">
                  <c:v>0</c:v>
                </c:pt>
                <c:pt idx="1878">
                  <c:v>0</c:v>
                </c:pt>
                <c:pt idx="1879">
                  <c:v>0</c:v>
                </c:pt>
                <c:pt idx="1880">
                  <c:v>0</c:v>
                </c:pt>
                <c:pt idx="1881">
                  <c:v>0</c:v>
                </c:pt>
                <c:pt idx="1882">
                  <c:v>0</c:v>
                </c:pt>
                <c:pt idx="1883">
                  <c:v>0</c:v>
                </c:pt>
                <c:pt idx="1884">
                  <c:v>0</c:v>
                </c:pt>
                <c:pt idx="1885">
                  <c:v>0</c:v>
                </c:pt>
                <c:pt idx="1886">
                  <c:v>0</c:v>
                </c:pt>
                <c:pt idx="1887">
                  <c:v>0</c:v>
                </c:pt>
                <c:pt idx="1888">
                  <c:v>0</c:v>
                </c:pt>
                <c:pt idx="1889">
                  <c:v>0</c:v>
                </c:pt>
                <c:pt idx="1890">
                  <c:v>0</c:v>
                </c:pt>
                <c:pt idx="1891">
                  <c:v>0</c:v>
                </c:pt>
                <c:pt idx="1892">
                  <c:v>0</c:v>
                </c:pt>
                <c:pt idx="1893">
                  <c:v>0</c:v>
                </c:pt>
                <c:pt idx="1894">
                  <c:v>0</c:v>
                </c:pt>
                <c:pt idx="1895">
                  <c:v>0</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0</c:v>
                </c:pt>
                <c:pt idx="1919">
                  <c:v>0</c:v>
                </c:pt>
                <c:pt idx="1920">
                  <c:v>0</c:v>
                </c:pt>
                <c:pt idx="1921">
                  <c:v>0</c:v>
                </c:pt>
                <c:pt idx="1922">
                  <c:v>0</c:v>
                </c:pt>
                <c:pt idx="1923">
                  <c:v>0</c:v>
                </c:pt>
                <c:pt idx="1924">
                  <c:v>0</c:v>
                </c:pt>
                <c:pt idx="1925">
                  <c:v>0</c:v>
                </c:pt>
                <c:pt idx="1926">
                  <c:v>0</c:v>
                </c:pt>
                <c:pt idx="1927">
                  <c:v>0</c:v>
                </c:pt>
                <c:pt idx="1928">
                  <c:v>0</c:v>
                </c:pt>
                <c:pt idx="1929">
                  <c:v>0</c:v>
                </c:pt>
                <c:pt idx="1930">
                  <c:v>0</c:v>
                </c:pt>
                <c:pt idx="1931">
                  <c:v>0</c:v>
                </c:pt>
                <c:pt idx="1932">
                  <c:v>0</c:v>
                </c:pt>
                <c:pt idx="1933">
                  <c:v>0</c:v>
                </c:pt>
                <c:pt idx="1934">
                  <c:v>0</c:v>
                </c:pt>
                <c:pt idx="1935">
                  <c:v>0</c:v>
                </c:pt>
                <c:pt idx="1936">
                  <c:v>0</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0</c:v>
                </c:pt>
                <c:pt idx="1954">
                  <c:v>0</c:v>
                </c:pt>
                <c:pt idx="1955">
                  <c:v>0</c:v>
                </c:pt>
                <c:pt idx="1956">
                  <c:v>0</c:v>
                </c:pt>
                <c:pt idx="1957">
                  <c:v>0</c:v>
                </c:pt>
                <c:pt idx="1958">
                  <c:v>0</c:v>
                </c:pt>
                <c:pt idx="1959">
                  <c:v>0</c:v>
                </c:pt>
                <c:pt idx="1960">
                  <c:v>0</c:v>
                </c:pt>
                <c:pt idx="1961">
                  <c:v>0</c:v>
                </c:pt>
                <c:pt idx="1962">
                  <c:v>0</c:v>
                </c:pt>
                <c:pt idx="1963">
                  <c:v>0</c:v>
                </c:pt>
                <c:pt idx="1964">
                  <c:v>0</c:v>
                </c:pt>
                <c:pt idx="1965">
                  <c:v>0</c:v>
                </c:pt>
                <c:pt idx="1966">
                  <c:v>0</c:v>
                </c:pt>
                <c:pt idx="1967">
                  <c:v>0</c:v>
                </c:pt>
                <c:pt idx="1968">
                  <c:v>0</c:v>
                </c:pt>
                <c:pt idx="1969">
                  <c:v>0</c:v>
                </c:pt>
                <c:pt idx="1970">
                  <c:v>0</c:v>
                </c:pt>
                <c:pt idx="1971">
                  <c:v>0</c:v>
                </c:pt>
                <c:pt idx="1972">
                  <c:v>0</c:v>
                </c:pt>
                <c:pt idx="1973">
                  <c:v>0</c:v>
                </c:pt>
                <c:pt idx="1974">
                  <c:v>0</c:v>
                </c:pt>
                <c:pt idx="1975">
                  <c:v>0</c:v>
                </c:pt>
                <c:pt idx="1976">
                  <c:v>0</c:v>
                </c:pt>
                <c:pt idx="1977">
                  <c:v>0</c:v>
                </c:pt>
                <c:pt idx="1978">
                  <c:v>0</c:v>
                </c:pt>
                <c:pt idx="1979">
                  <c:v>0</c:v>
                </c:pt>
                <c:pt idx="1980">
                  <c:v>0</c:v>
                </c:pt>
                <c:pt idx="1981">
                  <c:v>0</c:v>
                </c:pt>
                <c:pt idx="1982">
                  <c:v>0</c:v>
                </c:pt>
                <c:pt idx="1983">
                  <c:v>0</c:v>
                </c:pt>
                <c:pt idx="1984">
                  <c:v>0</c:v>
                </c:pt>
                <c:pt idx="1985">
                  <c:v>0</c:v>
                </c:pt>
                <c:pt idx="1986">
                  <c:v>0</c:v>
                </c:pt>
                <c:pt idx="1987">
                  <c:v>0</c:v>
                </c:pt>
                <c:pt idx="1988">
                  <c:v>0</c:v>
                </c:pt>
                <c:pt idx="1989">
                  <c:v>0</c:v>
                </c:pt>
                <c:pt idx="1990">
                  <c:v>0</c:v>
                </c:pt>
                <c:pt idx="1991">
                  <c:v>0</c:v>
                </c:pt>
                <c:pt idx="1992">
                  <c:v>0</c:v>
                </c:pt>
                <c:pt idx="1993">
                  <c:v>0</c:v>
                </c:pt>
                <c:pt idx="1994">
                  <c:v>0</c:v>
                </c:pt>
                <c:pt idx="1995">
                  <c:v>0</c:v>
                </c:pt>
                <c:pt idx="1996">
                  <c:v>0</c:v>
                </c:pt>
                <c:pt idx="1997">
                  <c:v>0</c:v>
                </c:pt>
                <c:pt idx="1998">
                  <c:v>0</c:v>
                </c:pt>
                <c:pt idx="1999">
                  <c:v>0</c:v>
                </c:pt>
                <c:pt idx="2000">
                  <c:v>0</c:v>
                </c:pt>
                <c:pt idx="2001">
                  <c:v>0</c:v>
                </c:pt>
                <c:pt idx="2002">
                  <c:v>0</c:v>
                </c:pt>
                <c:pt idx="2003">
                  <c:v>0</c:v>
                </c:pt>
                <c:pt idx="2004">
                  <c:v>0</c:v>
                </c:pt>
                <c:pt idx="2005">
                  <c:v>0</c:v>
                </c:pt>
                <c:pt idx="2006">
                  <c:v>0</c:v>
                </c:pt>
                <c:pt idx="2007">
                  <c:v>0</c:v>
                </c:pt>
                <c:pt idx="2008">
                  <c:v>0</c:v>
                </c:pt>
                <c:pt idx="2009">
                  <c:v>0</c:v>
                </c:pt>
                <c:pt idx="2010">
                  <c:v>0</c:v>
                </c:pt>
                <c:pt idx="2011">
                  <c:v>0</c:v>
                </c:pt>
                <c:pt idx="2012">
                  <c:v>0</c:v>
                </c:pt>
                <c:pt idx="2013">
                  <c:v>0</c:v>
                </c:pt>
                <c:pt idx="2014">
                  <c:v>0</c:v>
                </c:pt>
                <c:pt idx="2015">
                  <c:v>0</c:v>
                </c:pt>
                <c:pt idx="2016">
                  <c:v>0</c:v>
                </c:pt>
                <c:pt idx="2017">
                  <c:v>0</c:v>
                </c:pt>
                <c:pt idx="2018">
                  <c:v>0</c:v>
                </c:pt>
                <c:pt idx="2019">
                  <c:v>0</c:v>
                </c:pt>
                <c:pt idx="2020">
                  <c:v>0</c:v>
                </c:pt>
                <c:pt idx="2021">
                  <c:v>0</c:v>
                </c:pt>
                <c:pt idx="2022">
                  <c:v>0</c:v>
                </c:pt>
                <c:pt idx="2023">
                  <c:v>0</c:v>
                </c:pt>
                <c:pt idx="2024">
                  <c:v>0</c:v>
                </c:pt>
                <c:pt idx="2025">
                  <c:v>0</c:v>
                </c:pt>
                <c:pt idx="2026">
                  <c:v>0</c:v>
                </c:pt>
                <c:pt idx="2027">
                  <c:v>0</c:v>
                </c:pt>
                <c:pt idx="2028">
                  <c:v>0</c:v>
                </c:pt>
                <c:pt idx="2029">
                  <c:v>0</c:v>
                </c:pt>
                <c:pt idx="2030">
                  <c:v>0</c:v>
                </c:pt>
                <c:pt idx="2031">
                  <c:v>0</c:v>
                </c:pt>
                <c:pt idx="2032">
                  <c:v>0</c:v>
                </c:pt>
                <c:pt idx="2033">
                  <c:v>0</c:v>
                </c:pt>
                <c:pt idx="2034">
                  <c:v>0</c:v>
                </c:pt>
                <c:pt idx="2035">
                  <c:v>0</c:v>
                </c:pt>
                <c:pt idx="2036">
                  <c:v>0</c:v>
                </c:pt>
                <c:pt idx="2037">
                  <c:v>0</c:v>
                </c:pt>
                <c:pt idx="2038">
                  <c:v>0</c:v>
                </c:pt>
                <c:pt idx="2039">
                  <c:v>0</c:v>
                </c:pt>
                <c:pt idx="2040">
                  <c:v>0</c:v>
                </c:pt>
                <c:pt idx="2041">
                  <c:v>0</c:v>
                </c:pt>
                <c:pt idx="2042">
                  <c:v>0</c:v>
                </c:pt>
                <c:pt idx="2043">
                  <c:v>0</c:v>
                </c:pt>
                <c:pt idx="2044">
                  <c:v>0</c:v>
                </c:pt>
                <c:pt idx="2045">
                  <c:v>0</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c:v>
                </c:pt>
                <c:pt idx="2079">
                  <c:v>0</c:v>
                </c:pt>
                <c:pt idx="2080">
                  <c:v>0</c:v>
                </c:pt>
                <c:pt idx="2081">
                  <c:v>0</c:v>
                </c:pt>
                <c:pt idx="2082">
                  <c:v>0</c:v>
                </c:pt>
                <c:pt idx="2083">
                  <c:v>0</c:v>
                </c:pt>
                <c:pt idx="2084">
                  <c:v>0</c:v>
                </c:pt>
                <c:pt idx="2085">
                  <c:v>0</c:v>
                </c:pt>
                <c:pt idx="2086">
                  <c:v>0</c:v>
                </c:pt>
                <c:pt idx="2087">
                  <c:v>0</c:v>
                </c:pt>
                <c:pt idx="2088">
                  <c:v>0</c:v>
                </c:pt>
                <c:pt idx="2089">
                  <c:v>0</c:v>
                </c:pt>
                <c:pt idx="2090">
                  <c:v>0</c:v>
                </c:pt>
                <c:pt idx="2091">
                  <c:v>0</c:v>
                </c:pt>
                <c:pt idx="2092">
                  <c:v>0</c:v>
                </c:pt>
                <c:pt idx="2093">
                  <c:v>0</c:v>
                </c:pt>
                <c:pt idx="2094">
                  <c:v>0</c:v>
                </c:pt>
                <c:pt idx="2095">
                  <c:v>0</c:v>
                </c:pt>
                <c:pt idx="2096">
                  <c:v>0</c:v>
                </c:pt>
                <c:pt idx="2097">
                  <c:v>0</c:v>
                </c:pt>
                <c:pt idx="2098">
                  <c:v>0</c:v>
                </c:pt>
                <c:pt idx="2099">
                  <c:v>0</c:v>
                </c:pt>
                <c:pt idx="2100">
                  <c:v>0</c:v>
                </c:pt>
                <c:pt idx="2101">
                  <c:v>0</c:v>
                </c:pt>
                <c:pt idx="2102">
                  <c:v>0</c:v>
                </c:pt>
                <c:pt idx="2103">
                  <c:v>0</c:v>
                </c:pt>
                <c:pt idx="2104">
                  <c:v>0</c:v>
                </c:pt>
                <c:pt idx="2105">
                  <c:v>0</c:v>
                </c:pt>
                <c:pt idx="2106">
                  <c:v>0</c:v>
                </c:pt>
                <c:pt idx="2107">
                  <c:v>0</c:v>
                </c:pt>
                <c:pt idx="2108">
                  <c:v>0</c:v>
                </c:pt>
                <c:pt idx="2109">
                  <c:v>0</c:v>
                </c:pt>
                <c:pt idx="2110">
                  <c:v>0</c:v>
                </c:pt>
                <c:pt idx="2111">
                  <c:v>0</c:v>
                </c:pt>
                <c:pt idx="2112">
                  <c:v>0</c:v>
                </c:pt>
                <c:pt idx="2113">
                  <c:v>0</c:v>
                </c:pt>
                <c:pt idx="2114">
                  <c:v>0</c:v>
                </c:pt>
                <c:pt idx="2115">
                  <c:v>0</c:v>
                </c:pt>
                <c:pt idx="2116">
                  <c:v>0</c:v>
                </c:pt>
                <c:pt idx="2117">
                  <c:v>0</c:v>
                </c:pt>
                <c:pt idx="2118">
                  <c:v>0</c:v>
                </c:pt>
                <c:pt idx="2119">
                  <c:v>0</c:v>
                </c:pt>
                <c:pt idx="2120">
                  <c:v>0</c:v>
                </c:pt>
                <c:pt idx="2121">
                  <c:v>0</c:v>
                </c:pt>
                <c:pt idx="2122">
                  <c:v>0</c:v>
                </c:pt>
                <c:pt idx="2123">
                  <c:v>0</c:v>
                </c:pt>
                <c:pt idx="2124">
                  <c:v>0</c:v>
                </c:pt>
                <c:pt idx="2125">
                  <c:v>0</c:v>
                </c:pt>
                <c:pt idx="2126">
                  <c:v>0</c:v>
                </c:pt>
                <c:pt idx="2127">
                  <c:v>0</c:v>
                </c:pt>
                <c:pt idx="2128">
                  <c:v>0</c:v>
                </c:pt>
                <c:pt idx="2129">
                  <c:v>0</c:v>
                </c:pt>
                <c:pt idx="2130">
                  <c:v>0</c:v>
                </c:pt>
                <c:pt idx="2131">
                  <c:v>0</c:v>
                </c:pt>
                <c:pt idx="2132">
                  <c:v>0</c:v>
                </c:pt>
                <c:pt idx="2133">
                  <c:v>0</c:v>
                </c:pt>
                <c:pt idx="2134">
                  <c:v>0</c:v>
                </c:pt>
                <c:pt idx="2135">
                  <c:v>0</c:v>
                </c:pt>
                <c:pt idx="2136">
                  <c:v>0</c:v>
                </c:pt>
                <c:pt idx="2137">
                  <c:v>0</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0</c:v>
                </c:pt>
                <c:pt idx="2151">
                  <c:v>0</c:v>
                </c:pt>
                <c:pt idx="2152">
                  <c:v>0</c:v>
                </c:pt>
                <c:pt idx="2153">
                  <c:v>0</c:v>
                </c:pt>
                <c:pt idx="2154">
                  <c:v>0</c:v>
                </c:pt>
                <c:pt idx="2155">
                  <c:v>0</c:v>
                </c:pt>
                <c:pt idx="2156">
                  <c:v>0</c:v>
                </c:pt>
                <c:pt idx="2157">
                  <c:v>0</c:v>
                </c:pt>
                <c:pt idx="2158">
                  <c:v>0</c:v>
                </c:pt>
                <c:pt idx="2159">
                  <c:v>0</c:v>
                </c:pt>
                <c:pt idx="2160">
                  <c:v>0</c:v>
                </c:pt>
                <c:pt idx="2161">
                  <c:v>0</c:v>
                </c:pt>
                <c:pt idx="2162">
                  <c:v>0</c:v>
                </c:pt>
                <c:pt idx="2163">
                  <c:v>0</c:v>
                </c:pt>
                <c:pt idx="2164">
                  <c:v>0</c:v>
                </c:pt>
                <c:pt idx="2165">
                  <c:v>0</c:v>
                </c:pt>
                <c:pt idx="2166">
                  <c:v>0</c:v>
                </c:pt>
                <c:pt idx="2167">
                  <c:v>0</c:v>
                </c:pt>
                <c:pt idx="2168">
                  <c:v>0</c:v>
                </c:pt>
                <c:pt idx="2169">
                  <c:v>0</c:v>
                </c:pt>
                <c:pt idx="2170">
                  <c:v>0</c:v>
                </c:pt>
                <c:pt idx="2171">
                  <c:v>0</c:v>
                </c:pt>
                <c:pt idx="2172">
                  <c:v>0</c:v>
                </c:pt>
                <c:pt idx="2173">
                  <c:v>0</c:v>
                </c:pt>
                <c:pt idx="2174">
                  <c:v>0</c:v>
                </c:pt>
                <c:pt idx="2175">
                  <c:v>0</c:v>
                </c:pt>
                <c:pt idx="2176">
                  <c:v>0</c:v>
                </c:pt>
                <c:pt idx="2177">
                  <c:v>0</c:v>
                </c:pt>
                <c:pt idx="2178">
                  <c:v>0</c:v>
                </c:pt>
                <c:pt idx="2179">
                  <c:v>0</c:v>
                </c:pt>
                <c:pt idx="2180">
                  <c:v>0</c:v>
                </c:pt>
                <c:pt idx="2181">
                  <c:v>0</c:v>
                </c:pt>
                <c:pt idx="2182">
                  <c:v>0</c:v>
                </c:pt>
                <c:pt idx="2183">
                  <c:v>0</c:v>
                </c:pt>
                <c:pt idx="2184">
                  <c:v>0</c:v>
                </c:pt>
                <c:pt idx="2185">
                  <c:v>0</c:v>
                </c:pt>
                <c:pt idx="2186">
                  <c:v>0</c:v>
                </c:pt>
                <c:pt idx="2187">
                  <c:v>0</c:v>
                </c:pt>
                <c:pt idx="2188">
                  <c:v>0</c:v>
                </c:pt>
                <c:pt idx="2189">
                  <c:v>0</c:v>
                </c:pt>
                <c:pt idx="2190">
                  <c:v>0</c:v>
                </c:pt>
                <c:pt idx="2191">
                  <c:v>0</c:v>
                </c:pt>
                <c:pt idx="2192">
                  <c:v>0</c:v>
                </c:pt>
                <c:pt idx="2193">
                  <c:v>0</c:v>
                </c:pt>
                <c:pt idx="2194">
                  <c:v>0</c:v>
                </c:pt>
                <c:pt idx="2195">
                  <c:v>0</c:v>
                </c:pt>
                <c:pt idx="2196">
                  <c:v>0</c:v>
                </c:pt>
                <c:pt idx="2197">
                  <c:v>0</c:v>
                </c:pt>
                <c:pt idx="2198">
                  <c:v>0</c:v>
                </c:pt>
                <c:pt idx="2199">
                  <c:v>0</c:v>
                </c:pt>
                <c:pt idx="2200">
                  <c:v>0</c:v>
                </c:pt>
                <c:pt idx="2201">
                  <c:v>0</c:v>
                </c:pt>
                <c:pt idx="2202">
                  <c:v>0</c:v>
                </c:pt>
                <c:pt idx="2203">
                  <c:v>0</c:v>
                </c:pt>
                <c:pt idx="2204">
                  <c:v>0</c:v>
                </c:pt>
                <c:pt idx="2205">
                  <c:v>0</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0</c:v>
                </c:pt>
                <c:pt idx="2236">
                  <c:v>0</c:v>
                </c:pt>
                <c:pt idx="2237">
                  <c:v>0</c:v>
                </c:pt>
                <c:pt idx="2238">
                  <c:v>0</c:v>
                </c:pt>
                <c:pt idx="2239">
                  <c:v>0</c:v>
                </c:pt>
                <c:pt idx="2240">
                  <c:v>0</c:v>
                </c:pt>
                <c:pt idx="2241">
                  <c:v>0</c:v>
                </c:pt>
                <c:pt idx="2242">
                  <c:v>0</c:v>
                </c:pt>
                <c:pt idx="2243">
                  <c:v>0</c:v>
                </c:pt>
                <c:pt idx="2244">
                  <c:v>0</c:v>
                </c:pt>
                <c:pt idx="2245">
                  <c:v>0</c:v>
                </c:pt>
                <c:pt idx="2246">
                  <c:v>0</c:v>
                </c:pt>
                <c:pt idx="2247">
                  <c:v>0</c:v>
                </c:pt>
                <c:pt idx="2248">
                  <c:v>0</c:v>
                </c:pt>
                <c:pt idx="2249">
                  <c:v>0</c:v>
                </c:pt>
                <c:pt idx="2250">
                  <c:v>0</c:v>
                </c:pt>
                <c:pt idx="2251">
                  <c:v>0</c:v>
                </c:pt>
                <c:pt idx="2252">
                  <c:v>0</c:v>
                </c:pt>
                <c:pt idx="2253">
                  <c:v>1</c:v>
                </c:pt>
                <c:pt idx="2254">
                  <c:v>1</c:v>
                </c:pt>
                <c:pt idx="2255">
                  <c:v>1</c:v>
                </c:pt>
                <c:pt idx="2256">
                  <c:v>1</c:v>
                </c:pt>
                <c:pt idx="2257">
                  <c:v>1</c:v>
                </c:pt>
                <c:pt idx="2258">
                  <c:v>1</c:v>
                </c:pt>
                <c:pt idx="2259">
                  <c:v>1</c:v>
                </c:pt>
                <c:pt idx="2260">
                  <c:v>1</c:v>
                </c:pt>
                <c:pt idx="2261">
                  <c:v>1</c:v>
                </c:pt>
                <c:pt idx="2262">
                  <c:v>1</c:v>
                </c:pt>
                <c:pt idx="2263">
                  <c:v>1</c:v>
                </c:pt>
                <c:pt idx="2264">
                  <c:v>1</c:v>
                </c:pt>
                <c:pt idx="2265">
                  <c:v>1</c:v>
                </c:pt>
                <c:pt idx="2266">
                  <c:v>1</c:v>
                </c:pt>
                <c:pt idx="2267">
                  <c:v>1</c:v>
                </c:pt>
                <c:pt idx="2268">
                  <c:v>1</c:v>
                </c:pt>
                <c:pt idx="2269">
                  <c:v>1</c:v>
                </c:pt>
                <c:pt idx="2270">
                  <c:v>1</c:v>
                </c:pt>
                <c:pt idx="2271">
                  <c:v>1</c:v>
                </c:pt>
                <c:pt idx="2272">
                  <c:v>1</c:v>
                </c:pt>
                <c:pt idx="2273">
                  <c:v>1</c:v>
                </c:pt>
                <c:pt idx="2274">
                  <c:v>1</c:v>
                </c:pt>
                <c:pt idx="2275">
                  <c:v>1</c:v>
                </c:pt>
                <c:pt idx="2276">
                  <c:v>1</c:v>
                </c:pt>
                <c:pt idx="2277">
                  <c:v>1</c:v>
                </c:pt>
                <c:pt idx="2278">
                  <c:v>1</c:v>
                </c:pt>
                <c:pt idx="2279">
                  <c:v>1</c:v>
                </c:pt>
                <c:pt idx="2280">
                  <c:v>1</c:v>
                </c:pt>
                <c:pt idx="2281">
                  <c:v>1</c:v>
                </c:pt>
                <c:pt idx="2282">
                  <c:v>1</c:v>
                </c:pt>
                <c:pt idx="2283">
                  <c:v>1</c:v>
                </c:pt>
                <c:pt idx="2284">
                  <c:v>1</c:v>
                </c:pt>
                <c:pt idx="2285">
                  <c:v>1</c:v>
                </c:pt>
                <c:pt idx="2286">
                  <c:v>1</c:v>
                </c:pt>
                <c:pt idx="2287">
                  <c:v>1</c:v>
                </c:pt>
                <c:pt idx="2288">
                  <c:v>1</c:v>
                </c:pt>
                <c:pt idx="2289">
                  <c:v>1</c:v>
                </c:pt>
                <c:pt idx="2290">
                  <c:v>1</c:v>
                </c:pt>
                <c:pt idx="2291">
                  <c:v>1</c:v>
                </c:pt>
                <c:pt idx="2292">
                  <c:v>1</c:v>
                </c:pt>
                <c:pt idx="2293">
                  <c:v>1</c:v>
                </c:pt>
                <c:pt idx="2294">
                  <c:v>1</c:v>
                </c:pt>
                <c:pt idx="2295">
                  <c:v>1</c:v>
                </c:pt>
                <c:pt idx="2296">
                  <c:v>1</c:v>
                </c:pt>
                <c:pt idx="2297">
                  <c:v>1</c:v>
                </c:pt>
                <c:pt idx="2298">
                  <c:v>1</c:v>
                </c:pt>
                <c:pt idx="2299">
                  <c:v>1</c:v>
                </c:pt>
                <c:pt idx="2300">
                  <c:v>1</c:v>
                </c:pt>
                <c:pt idx="2301">
                  <c:v>1</c:v>
                </c:pt>
                <c:pt idx="2302">
                  <c:v>1</c:v>
                </c:pt>
                <c:pt idx="2303">
                  <c:v>1</c:v>
                </c:pt>
                <c:pt idx="2304">
                  <c:v>1</c:v>
                </c:pt>
                <c:pt idx="2305">
                  <c:v>0</c:v>
                </c:pt>
                <c:pt idx="2306">
                  <c:v>0</c:v>
                </c:pt>
                <c:pt idx="2307">
                  <c:v>0</c:v>
                </c:pt>
                <c:pt idx="2308">
                  <c:v>0</c:v>
                </c:pt>
                <c:pt idx="2309">
                  <c:v>0</c:v>
                </c:pt>
                <c:pt idx="2310">
                  <c:v>0</c:v>
                </c:pt>
                <c:pt idx="2311">
                  <c:v>0</c:v>
                </c:pt>
                <c:pt idx="2312">
                  <c:v>0</c:v>
                </c:pt>
                <c:pt idx="2313">
                  <c:v>0</c:v>
                </c:pt>
                <c:pt idx="2314">
                  <c:v>0</c:v>
                </c:pt>
                <c:pt idx="2315">
                  <c:v>0</c:v>
                </c:pt>
                <c:pt idx="2316">
                  <c:v>0</c:v>
                </c:pt>
                <c:pt idx="2317">
                  <c:v>0</c:v>
                </c:pt>
                <c:pt idx="2318">
                  <c:v>0</c:v>
                </c:pt>
                <c:pt idx="2319">
                  <c:v>0</c:v>
                </c:pt>
                <c:pt idx="2320">
                  <c:v>0</c:v>
                </c:pt>
                <c:pt idx="2321">
                  <c:v>0</c:v>
                </c:pt>
                <c:pt idx="2322">
                  <c:v>0</c:v>
                </c:pt>
                <c:pt idx="2323">
                  <c:v>0</c:v>
                </c:pt>
                <c:pt idx="2324">
                  <c:v>0</c:v>
                </c:pt>
                <c:pt idx="2325">
                  <c:v>0</c:v>
                </c:pt>
                <c:pt idx="2326">
                  <c:v>0</c:v>
                </c:pt>
                <c:pt idx="2327">
                  <c:v>0</c:v>
                </c:pt>
                <c:pt idx="2328">
                  <c:v>0</c:v>
                </c:pt>
                <c:pt idx="2329">
                  <c:v>0</c:v>
                </c:pt>
                <c:pt idx="2330">
                  <c:v>0</c:v>
                </c:pt>
                <c:pt idx="2331">
                  <c:v>0</c:v>
                </c:pt>
                <c:pt idx="2332">
                  <c:v>0</c:v>
                </c:pt>
                <c:pt idx="2333">
                  <c:v>0</c:v>
                </c:pt>
                <c:pt idx="2334">
                  <c:v>0</c:v>
                </c:pt>
                <c:pt idx="2335">
                  <c:v>0</c:v>
                </c:pt>
                <c:pt idx="2336">
                  <c:v>0</c:v>
                </c:pt>
                <c:pt idx="2337">
                  <c:v>0</c:v>
                </c:pt>
                <c:pt idx="2338">
                  <c:v>0</c:v>
                </c:pt>
                <c:pt idx="2339">
                  <c:v>0</c:v>
                </c:pt>
                <c:pt idx="2340">
                  <c:v>0</c:v>
                </c:pt>
                <c:pt idx="2341">
                  <c:v>0</c:v>
                </c:pt>
                <c:pt idx="2342">
                  <c:v>0</c:v>
                </c:pt>
                <c:pt idx="2343">
                  <c:v>0</c:v>
                </c:pt>
                <c:pt idx="2344">
                  <c:v>0</c:v>
                </c:pt>
                <c:pt idx="2345">
                  <c:v>0</c:v>
                </c:pt>
                <c:pt idx="2346">
                  <c:v>0</c:v>
                </c:pt>
                <c:pt idx="2347">
                  <c:v>0</c:v>
                </c:pt>
                <c:pt idx="2348">
                  <c:v>0</c:v>
                </c:pt>
                <c:pt idx="2349">
                  <c:v>0</c:v>
                </c:pt>
                <c:pt idx="2350">
                  <c:v>0</c:v>
                </c:pt>
                <c:pt idx="2351">
                  <c:v>0</c:v>
                </c:pt>
                <c:pt idx="2352">
                  <c:v>0</c:v>
                </c:pt>
                <c:pt idx="2353">
                  <c:v>0</c:v>
                </c:pt>
                <c:pt idx="2354">
                  <c:v>0</c:v>
                </c:pt>
                <c:pt idx="2355">
                  <c:v>0</c:v>
                </c:pt>
                <c:pt idx="2356">
                  <c:v>0</c:v>
                </c:pt>
                <c:pt idx="2357">
                  <c:v>0</c:v>
                </c:pt>
                <c:pt idx="2358">
                  <c:v>0</c:v>
                </c:pt>
                <c:pt idx="2359">
                  <c:v>0</c:v>
                </c:pt>
                <c:pt idx="2360">
                  <c:v>0</c:v>
                </c:pt>
                <c:pt idx="2361">
                  <c:v>0</c:v>
                </c:pt>
                <c:pt idx="2362">
                  <c:v>0</c:v>
                </c:pt>
                <c:pt idx="2363">
                  <c:v>0</c:v>
                </c:pt>
                <c:pt idx="2364">
                  <c:v>0</c:v>
                </c:pt>
                <c:pt idx="2365">
                  <c:v>0</c:v>
                </c:pt>
                <c:pt idx="2366">
                  <c:v>0</c:v>
                </c:pt>
                <c:pt idx="2367">
                  <c:v>0</c:v>
                </c:pt>
                <c:pt idx="2368">
                  <c:v>0</c:v>
                </c:pt>
                <c:pt idx="2369">
                  <c:v>0</c:v>
                </c:pt>
                <c:pt idx="2370">
                  <c:v>0</c:v>
                </c:pt>
                <c:pt idx="2371">
                  <c:v>0</c:v>
                </c:pt>
                <c:pt idx="2372">
                  <c:v>0</c:v>
                </c:pt>
                <c:pt idx="2373">
                  <c:v>0</c:v>
                </c:pt>
                <c:pt idx="2374">
                  <c:v>0</c:v>
                </c:pt>
                <c:pt idx="2375">
                  <c:v>0</c:v>
                </c:pt>
                <c:pt idx="2376">
                  <c:v>0</c:v>
                </c:pt>
                <c:pt idx="2377">
                  <c:v>0</c:v>
                </c:pt>
                <c:pt idx="2378">
                  <c:v>0</c:v>
                </c:pt>
                <c:pt idx="2379">
                  <c:v>0</c:v>
                </c:pt>
                <c:pt idx="2380">
                  <c:v>0</c:v>
                </c:pt>
                <c:pt idx="2381">
                  <c:v>0</c:v>
                </c:pt>
                <c:pt idx="2382">
                  <c:v>0</c:v>
                </c:pt>
                <c:pt idx="2383">
                  <c:v>0</c:v>
                </c:pt>
                <c:pt idx="2384">
                  <c:v>0</c:v>
                </c:pt>
                <c:pt idx="2385">
                  <c:v>0</c:v>
                </c:pt>
                <c:pt idx="2386">
                  <c:v>0</c:v>
                </c:pt>
                <c:pt idx="2387">
                  <c:v>0</c:v>
                </c:pt>
                <c:pt idx="2388">
                  <c:v>0</c:v>
                </c:pt>
                <c:pt idx="2389">
                  <c:v>0</c:v>
                </c:pt>
                <c:pt idx="2390">
                  <c:v>0</c:v>
                </c:pt>
                <c:pt idx="2391">
                  <c:v>0</c:v>
                </c:pt>
                <c:pt idx="2392">
                  <c:v>0</c:v>
                </c:pt>
                <c:pt idx="2393">
                  <c:v>0</c:v>
                </c:pt>
                <c:pt idx="2394">
                  <c:v>0</c:v>
                </c:pt>
                <c:pt idx="2395">
                  <c:v>0</c:v>
                </c:pt>
                <c:pt idx="2396">
                  <c:v>0</c:v>
                </c:pt>
                <c:pt idx="2397">
                  <c:v>0</c:v>
                </c:pt>
                <c:pt idx="2398">
                  <c:v>0</c:v>
                </c:pt>
                <c:pt idx="2399">
                  <c:v>0</c:v>
                </c:pt>
                <c:pt idx="2400">
                  <c:v>0</c:v>
                </c:pt>
                <c:pt idx="2401">
                  <c:v>0</c:v>
                </c:pt>
                <c:pt idx="2402">
                  <c:v>0</c:v>
                </c:pt>
                <c:pt idx="2403">
                  <c:v>0</c:v>
                </c:pt>
                <c:pt idx="2404">
                  <c:v>0</c:v>
                </c:pt>
                <c:pt idx="2405">
                  <c:v>0</c:v>
                </c:pt>
                <c:pt idx="2406">
                  <c:v>0</c:v>
                </c:pt>
                <c:pt idx="2407">
                  <c:v>0</c:v>
                </c:pt>
                <c:pt idx="2408">
                  <c:v>0</c:v>
                </c:pt>
                <c:pt idx="2409">
                  <c:v>0</c:v>
                </c:pt>
                <c:pt idx="2410">
                  <c:v>0</c:v>
                </c:pt>
                <c:pt idx="2411">
                  <c:v>0</c:v>
                </c:pt>
                <c:pt idx="2412">
                  <c:v>0</c:v>
                </c:pt>
                <c:pt idx="2413">
                  <c:v>0</c:v>
                </c:pt>
                <c:pt idx="2414">
                  <c:v>0</c:v>
                </c:pt>
                <c:pt idx="2415">
                  <c:v>0</c:v>
                </c:pt>
                <c:pt idx="2416">
                  <c:v>0</c:v>
                </c:pt>
                <c:pt idx="2417">
                  <c:v>0</c:v>
                </c:pt>
                <c:pt idx="2418">
                  <c:v>0</c:v>
                </c:pt>
                <c:pt idx="2419">
                  <c:v>0</c:v>
                </c:pt>
                <c:pt idx="2420">
                  <c:v>0</c:v>
                </c:pt>
                <c:pt idx="2421">
                  <c:v>0</c:v>
                </c:pt>
                <c:pt idx="2422">
                  <c:v>0</c:v>
                </c:pt>
                <c:pt idx="2423">
                  <c:v>0</c:v>
                </c:pt>
                <c:pt idx="2424">
                  <c:v>0</c:v>
                </c:pt>
                <c:pt idx="2425">
                  <c:v>0</c:v>
                </c:pt>
                <c:pt idx="2426">
                  <c:v>0</c:v>
                </c:pt>
                <c:pt idx="2427">
                  <c:v>0</c:v>
                </c:pt>
                <c:pt idx="2428">
                  <c:v>0</c:v>
                </c:pt>
                <c:pt idx="2429">
                  <c:v>0</c:v>
                </c:pt>
                <c:pt idx="2430">
                  <c:v>0</c:v>
                </c:pt>
                <c:pt idx="2431">
                  <c:v>0</c:v>
                </c:pt>
                <c:pt idx="2432">
                  <c:v>0</c:v>
                </c:pt>
                <c:pt idx="2433">
                  <c:v>0</c:v>
                </c:pt>
                <c:pt idx="2434">
                  <c:v>0</c:v>
                </c:pt>
                <c:pt idx="2435">
                  <c:v>0</c:v>
                </c:pt>
                <c:pt idx="2436">
                  <c:v>0</c:v>
                </c:pt>
                <c:pt idx="2437">
                  <c:v>0</c:v>
                </c:pt>
                <c:pt idx="2438">
                  <c:v>0</c:v>
                </c:pt>
                <c:pt idx="2439">
                  <c:v>0</c:v>
                </c:pt>
                <c:pt idx="2440">
                  <c:v>0</c:v>
                </c:pt>
                <c:pt idx="2441">
                  <c:v>0</c:v>
                </c:pt>
                <c:pt idx="2442">
                  <c:v>0</c:v>
                </c:pt>
                <c:pt idx="2443">
                  <c:v>0</c:v>
                </c:pt>
                <c:pt idx="2444">
                  <c:v>0</c:v>
                </c:pt>
                <c:pt idx="2445">
                  <c:v>0</c:v>
                </c:pt>
                <c:pt idx="2446">
                  <c:v>0</c:v>
                </c:pt>
                <c:pt idx="2447">
                  <c:v>0</c:v>
                </c:pt>
                <c:pt idx="2448">
                  <c:v>0</c:v>
                </c:pt>
                <c:pt idx="2449">
                  <c:v>0</c:v>
                </c:pt>
                <c:pt idx="2450">
                  <c:v>0</c:v>
                </c:pt>
                <c:pt idx="2451">
                  <c:v>0</c:v>
                </c:pt>
              </c:numCache>
            </c:numRef>
          </c:val>
          <c:smooth val="0"/>
          <c:extLst>
            <c:ext xmlns:c16="http://schemas.microsoft.com/office/drawing/2014/chart" uri="{C3380CC4-5D6E-409C-BE32-E72D297353CC}">
              <c16:uniqueId val="{00000002-C63F-4F2D-AF7D-1A69B6104F41}"/>
            </c:ext>
          </c:extLst>
        </c:ser>
        <c:ser>
          <c:idx val="3"/>
          <c:order val="3"/>
          <c:tx>
            <c:strRef>
              <c:f>'Data Preparation'!$K$1</c:f>
              <c:strCache>
                <c:ptCount val="1"/>
                <c:pt idx="0">
                  <c:v>Regressive Equation</c:v>
                </c:pt>
              </c:strCache>
            </c:strRef>
          </c:tx>
          <c:spPr>
            <a:ln w="28575" cap="rnd">
              <a:solidFill>
                <a:schemeClr val="accent4"/>
              </a:solidFill>
              <a:round/>
            </a:ln>
            <a:effectLst/>
          </c:spPr>
          <c:marker>
            <c:symbol val="none"/>
          </c:marker>
          <c:val>
            <c:numRef>
              <c:f>'Data Preparation'!$K$2:$K$2455</c:f>
              <c:numCache>
                <c:formatCode>0.00</c:formatCode>
                <c:ptCount val="2454"/>
                <c:pt idx="0">
                  <c:v>1.4820216874814496E-2</c:v>
                </c:pt>
                <c:pt idx="1">
                  <c:v>1.0539901646947625E-2</c:v>
                </c:pt>
                <c:pt idx="2">
                  <c:v>1.1902612010965541E-3</c:v>
                </c:pt>
                <c:pt idx="3">
                  <c:v>-5.5078807348812875E-3</c:v>
                </c:pt>
                <c:pt idx="4">
                  <c:v>-1.5527159200491081E-2</c:v>
                </c:pt>
                <c:pt idx="5">
                  <c:v>-1.1199683774915092E-2</c:v>
                </c:pt>
                <c:pt idx="6">
                  <c:v>-9.8067507166221812E-3</c:v>
                </c:pt>
                <c:pt idx="7">
                  <c:v>-1.0273858228657007E-2</c:v>
                </c:pt>
                <c:pt idx="8">
                  <c:v>-7.7170096166793156E-3</c:v>
                </c:pt>
                <c:pt idx="9">
                  <c:v>-1.4248804028992312E-3</c:v>
                </c:pt>
                <c:pt idx="10">
                  <c:v>-2.9652706959545361E-3</c:v>
                </c:pt>
                <c:pt idx="11">
                  <c:v>-7.3473923078147818E-3</c:v>
                </c:pt>
                <c:pt idx="12">
                  <c:v>-2.6094747465021939E-3</c:v>
                </c:pt>
                <c:pt idx="13">
                  <c:v>6.0357700305865292E-3</c:v>
                </c:pt>
                <c:pt idx="14">
                  <c:v>8.1097739682043368E-3</c:v>
                </c:pt>
                <c:pt idx="15">
                  <c:v>6.7168637459256164E-3</c:v>
                </c:pt>
                <c:pt idx="16">
                  <c:v>8.6893594318803169E-3</c:v>
                </c:pt>
                <c:pt idx="17">
                  <c:v>3.5278458158498616E-3</c:v>
                </c:pt>
                <c:pt idx="18">
                  <c:v>3.1986621157921169E-3</c:v>
                </c:pt>
                <c:pt idx="19">
                  <c:v>6.2870543887546537E-3</c:v>
                </c:pt>
                <c:pt idx="20">
                  <c:v>9.147094602932393E-3</c:v>
                </c:pt>
                <c:pt idx="21">
                  <c:v>1.6056680778931964E-2</c:v>
                </c:pt>
                <c:pt idx="22">
                  <c:v>1.7608741557966989E-2</c:v>
                </c:pt>
                <c:pt idx="23">
                  <c:v>2.2132624633144138E-2</c:v>
                </c:pt>
                <c:pt idx="24">
                  <c:v>1.7483297127867892E-2</c:v>
                </c:pt>
                <c:pt idx="25">
                  <c:v>1.610775375171114E-2</c:v>
                </c:pt>
                <c:pt idx="26">
                  <c:v>1.4344137402384605E-2</c:v>
                </c:pt>
                <c:pt idx="27">
                  <c:v>-3.6496476814359413E-3</c:v>
                </c:pt>
                <c:pt idx="28">
                  <c:v>5.0349573318163587E-3</c:v>
                </c:pt>
                <c:pt idx="29">
                  <c:v>-2.0183414133706501E-3</c:v>
                </c:pt>
                <c:pt idx="30">
                  <c:v>-8.3806655454198298E-3</c:v>
                </c:pt>
                <c:pt idx="31">
                  <c:v>-7.8110934301405255E-3</c:v>
                </c:pt>
                <c:pt idx="32">
                  <c:v>8.7497715167423884E-3</c:v>
                </c:pt>
                <c:pt idx="33">
                  <c:v>1.1939036717652396E-2</c:v>
                </c:pt>
                <c:pt idx="34">
                  <c:v>1.6739710520639828E-2</c:v>
                </c:pt>
                <c:pt idx="35">
                  <c:v>2.5367507414281176E-3</c:v>
                </c:pt>
                <c:pt idx="36">
                  <c:v>-6.2785752443774712E-3</c:v>
                </c:pt>
                <c:pt idx="37">
                  <c:v>-5.7169935377274772E-3</c:v>
                </c:pt>
                <c:pt idx="38">
                  <c:v>-5.2288932567617907E-3</c:v>
                </c:pt>
                <c:pt idx="39">
                  <c:v>-1.3100763943868721E-2</c:v>
                </c:pt>
                <c:pt idx="40">
                  <c:v>-1.5174010151446593E-2</c:v>
                </c:pt>
                <c:pt idx="41">
                  <c:v>-1.6831252213021064E-2</c:v>
                </c:pt>
                <c:pt idx="42">
                  <c:v>-2.1752636611468312E-2</c:v>
                </c:pt>
                <c:pt idx="43">
                  <c:v>-2.3065813197201801E-2</c:v>
                </c:pt>
                <c:pt idx="44">
                  <c:v>-3.6534232984346104E-2</c:v>
                </c:pt>
                <c:pt idx="45">
                  <c:v>-4.4313835677263325E-2</c:v>
                </c:pt>
                <c:pt idx="46">
                  <c:v>-5.2534182616115643E-2</c:v>
                </c:pt>
                <c:pt idx="47">
                  <c:v>-5.1614430331581418E-2</c:v>
                </c:pt>
                <c:pt idx="48">
                  <c:v>-5.8141880726233275E-2</c:v>
                </c:pt>
                <c:pt idx="49">
                  <c:v>-4.6807800474549355E-2</c:v>
                </c:pt>
                <c:pt idx="50">
                  <c:v>-5.5911647493319894E-2</c:v>
                </c:pt>
                <c:pt idx="51">
                  <c:v>-5.6638811854165638E-2</c:v>
                </c:pt>
                <c:pt idx="52">
                  <c:v>-5.537033170614436E-2</c:v>
                </c:pt>
                <c:pt idx="53">
                  <c:v>-5.256818739688518E-2</c:v>
                </c:pt>
                <c:pt idx="54">
                  <c:v>-4.7765439343805283E-2</c:v>
                </c:pt>
                <c:pt idx="55">
                  <c:v>-3.875023953956569E-2</c:v>
                </c:pt>
                <c:pt idx="56">
                  <c:v>-3.6318493645885908E-2</c:v>
                </c:pt>
                <c:pt idx="57">
                  <c:v>-2.5572461515548262E-2</c:v>
                </c:pt>
                <c:pt idx="58">
                  <c:v>-2.3778135697176572E-2</c:v>
                </c:pt>
                <c:pt idx="59">
                  <c:v>-2.8843360509710814E-2</c:v>
                </c:pt>
                <c:pt idx="60">
                  <c:v>-3.4094877072615382E-2</c:v>
                </c:pt>
                <c:pt idx="61">
                  <c:v>-3.3878562929832712E-2</c:v>
                </c:pt>
                <c:pt idx="62">
                  <c:v>-3.8873033627922493E-2</c:v>
                </c:pt>
                <c:pt idx="63">
                  <c:v>-3.9875363081125603E-2</c:v>
                </c:pt>
                <c:pt idx="64">
                  <c:v>-3.5612358150694301E-2</c:v>
                </c:pt>
                <c:pt idx="65">
                  <c:v>-3.0781275649065076E-2</c:v>
                </c:pt>
                <c:pt idx="66">
                  <c:v>-2.3663883915359896E-2</c:v>
                </c:pt>
                <c:pt idx="67">
                  <c:v>-2.076204141492155E-2</c:v>
                </c:pt>
                <c:pt idx="68">
                  <c:v>-1.9971108604929677E-2</c:v>
                </c:pt>
                <c:pt idx="69">
                  <c:v>-1.3399581756656009E-2</c:v>
                </c:pt>
                <c:pt idx="70">
                  <c:v>-1.2344728589678611E-2</c:v>
                </c:pt>
                <c:pt idx="71">
                  <c:v>-2.3820701870038707E-3</c:v>
                </c:pt>
                <c:pt idx="72">
                  <c:v>-7.0224794772917321E-3</c:v>
                </c:pt>
                <c:pt idx="73">
                  <c:v>-1.1420190534137231E-2</c:v>
                </c:pt>
                <c:pt idx="74">
                  <c:v>-2.8872083214580568E-3</c:v>
                </c:pt>
                <c:pt idx="75">
                  <c:v>-3.0934990972318888E-3</c:v>
                </c:pt>
                <c:pt idx="76">
                  <c:v>-9.8029887638351187E-3</c:v>
                </c:pt>
                <c:pt idx="77">
                  <c:v>-1.6430756671747981E-2</c:v>
                </c:pt>
                <c:pt idx="78">
                  <c:v>-2.153131297749622E-2</c:v>
                </c:pt>
                <c:pt idx="79">
                  <c:v>-2.0689451293430583E-2</c:v>
                </c:pt>
                <c:pt idx="80">
                  <c:v>-1.7297873198175107E-2</c:v>
                </c:pt>
                <c:pt idx="81">
                  <c:v>-8.6309241594458852E-3</c:v>
                </c:pt>
                <c:pt idx="82">
                  <c:v>-1.6886751446287263E-2</c:v>
                </c:pt>
                <c:pt idx="83">
                  <c:v>-2.6619441174895342E-2</c:v>
                </c:pt>
                <c:pt idx="84">
                  <c:v>-2.3929294165327075E-2</c:v>
                </c:pt>
                <c:pt idx="85">
                  <c:v>-3.7529336459797724E-2</c:v>
                </c:pt>
                <c:pt idx="86">
                  <c:v>-4.2593691210013884E-2</c:v>
                </c:pt>
                <c:pt idx="87">
                  <c:v>-5.482846728225732E-2</c:v>
                </c:pt>
                <c:pt idx="88">
                  <c:v>-6.8046780973460397E-2</c:v>
                </c:pt>
                <c:pt idx="89">
                  <c:v>-5.7856604979179327E-2</c:v>
                </c:pt>
                <c:pt idx="90">
                  <c:v>-5.0319112761175511E-2</c:v>
                </c:pt>
                <c:pt idx="91">
                  <c:v>-5.265279870507511E-2</c:v>
                </c:pt>
                <c:pt idx="92">
                  <c:v>-5.5650548010155676E-2</c:v>
                </c:pt>
                <c:pt idx="93">
                  <c:v>-4.6474986853228262E-2</c:v>
                </c:pt>
                <c:pt idx="94">
                  <c:v>-5.8292650340267871E-2</c:v>
                </c:pt>
                <c:pt idx="95">
                  <c:v>-5.2184857957747188E-2</c:v>
                </c:pt>
                <c:pt idx="96">
                  <c:v>-4.7925200502781373E-2</c:v>
                </c:pt>
                <c:pt idx="97">
                  <c:v>-4.8753407798338699E-2</c:v>
                </c:pt>
                <c:pt idx="98">
                  <c:v>-5.2671376557744676E-2</c:v>
                </c:pt>
                <c:pt idx="99">
                  <c:v>-5.4143517563192245E-2</c:v>
                </c:pt>
                <c:pt idx="100">
                  <c:v>-5.2306770617385978E-2</c:v>
                </c:pt>
                <c:pt idx="101">
                  <c:v>-5.792008586867059E-2</c:v>
                </c:pt>
                <c:pt idx="102">
                  <c:v>-4.9709165477268558E-2</c:v>
                </c:pt>
                <c:pt idx="103">
                  <c:v>-4.3493883754809115E-2</c:v>
                </c:pt>
                <c:pt idx="104">
                  <c:v>-3.8767052701076277E-2</c:v>
                </c:pt>
                <c:pt idx="105">
                  <c:v>-4.1444826267301171E-2</c:v>
                </c:pt>
                <c:pt idx="106">
                  <c:v>-3.4377362921944932E-2</c:v>
                </c:pt>
                <c:pt idx="107">
                  <c:v>-2.49628818384805E-2</c:v>
                </c:pt>
                <c:pt idx="108">
                  <c:v>-3.433104930567632E-2</c:v>
                </c:pt>
                <c:pt idx="109">
                  <c:v>-3.4958819771874872E-2</c:v>
                </c:pt>
                <c:pt idx="110">
                  <c:v>-3.4418647178871886E-2</c:v>
                </c:pt>
                <c:pt idx="111">
                  <c:v>-4.0914308887403106E-2</c:v>
                </c:pt>
                <c:pt idx="112">
                  <c:v>-4.6559979016119635E-2</c:v>
                </c:pt>
                <c:pt idx="113">
                  <c:v>-4.9545957380360828E-2</c:v>
                </c:pt>
                <c:pt idx="114">
                  <c:v>-5.5893197071055556E-2</c:v>
                </c:pt>
                <c:pt idx="115">
                  <c:v>-5.1986412685693817E-2</c:v>
                </c:pt>
                <c:pt idx="116">
                  <c:v>-5.5117014374811424E-2</c:v>
                </c:pt>
                <c:pt idx="117">
                  <c:v>-3.9430280656051142E-2</c:v>
                </c:pt>
                <c:pt idx="118">
                  <c:v>-3.0360604557742144E-2</c:v>
                </c:pt>
                <c:pt idx="119">
                  <c:v>-4.3770408532531779E-2</c:v>
                </c:pt>
                <c:pt idx="120">
                  <c:v>-5.2764674179738291E-2</c:v>
                </c:pt>
                <c:pt idx="121">
                  <c:v>-6.0857205284910565E-2</c:v>
                </c:pt>
                <c:pt idx="122">
                  <c:v>-5.3471525638899675E-2</c:v>
                </c:pt>
                <c:pt idx="123">
                  <c:v>-5.689713000726826E-2</c:v>
                </c:pt>
                <c:pt idx="124">
                  <c:v>-4.1055255518467448E-2</c:v>
                </c:pt>
                <c:pt idx="125">
                  <c:v>-4.2256220388585342E-2</c:v>
                </c:pt>
                <c:pt idx="126">
                  <c:v>-4.5922094821747472E-2</c:v>
                </c:pt>
                <c:pt idx="127">
                  <c:v>-4.726305902878003E-2</c:v>
                </c:pt>
                <c:pt idx="128">
                  <c:v>-3.408242420711094E-2</c:v>
                </c:pt>
                <c:pt idx="129">
                  <c:v>-3.2490509438303672E-2</c:v>
                </c:pt>
                <c:pt idx="130">
                  <c:v>-3.8092896314577462E-2</c:v>
                </c:pt>
                <c:pt idx="131">
                  <c:v>-3.034297510171502E-2</c:v>
                </c:pt>
                <c:pt idx="132">
                  <c:v>-4.8005218585843834E-2</c:v>
                </c:pt>
                <c:pt idx="133">
                  <c:v>-5.4993952089334108E-2</c:v>
                </c:pt>
                <c:pt idx="134">
                  <c:v>-5.9994696364771061E-2</c:v>
                </c:pt>
                <c:pt idx="135">
                  <c:v>-5.0362535214187543E-2</c:v>
                </c:pt>
                <c:pt idx="136">
                  <c:v>-4.7713431582058874E-2</c:v>
                </c:pt>
                <c:pt idx="137">
                  <c:v>-4.8730793924311788E-2</c:v>
                </c:pt>
                <c:pt idx="138">
                  <c:v>-3.2641420958666956E-2</c:v>
                </c:pt>
                <c:pt idx="139">
                  <c:v>-3.1328824336426364E-2</c:v>
                </c:pt>
                <c:pt idx="140">
                  <c:v>-2.7990482276833539E-2</c:v>
                </c:pt>
                <c:pt idx="141">
                  <c:v>-2.8549568907844214E-2</c:v>
                </c:pt>
                <c:pt idx="142">
                  <c:v>-9.5292028901262649E-3</c:v>
                </c:pt>
                <c:pt idx="143">
                  <c:v>1.2308907957588877E-3</c:v>
                </c:pt>
                <c:pt idx="144">
                  <c:v>6.7673842992903577E-3</c:v>
                </c:pt>
                <c:pt idx="145">
                  <c:v>1.8093501499579001E-2</c:v>
                </c:pt>
                <c:pt idx="146">
                  <c:v>2.4782991186318992E-2</c:v>
                </c:pt>
                <c:pt idx="147">
                  <c:v>1.9719122757109186E-2</c:v>
                </c:pt>
                <c:pt idx="148">
                  <c:v>2.6191682319821608E-2</c:v>
                </c:pt>
                <c:pt idx="149">
                  <c:v>3.0102357697673443E-2</c:v>
                </c:pt>
                <c:pt idx="150">
                  <c:v>3.3158655589800468E-2</c:v>
                </c:pt>
                <c:pt idx="151">
                  <c:v>3.4280110642480044E-2</c:v>
                </c:pt>
                <c:pt idx="152">
                  <c:v>3.4120973535796462E-2</c:v>
                </c:pt>
                <c:pt idx="153">
                  <c:v>3.9786652560991453E-2</c:v>
                </c:pt>
                <c:pt idx="154">
                  <c:v>4.0710242852976086E-2</c:v>
                </c:pt>
                <c:pt idx="155">
                  <c:v>3.9485160235833261E-2</c:v>
                </c:pt>
                <c:pt idx="156">
                  <c:v>4.0098309086721962E-2</c:v>
                </c:pt>
                <c:pt idx="157">
                  <c:v>4.0022826797770472E-2</c:v>
                </c:pt>
                <c:pt idx="158">
                  <c:v>1.9346743237233843E-2</c:v>
                </c:pt>
                <c:pt idx="159">
                  <c:v>1.5376997651815327E-2</c:v>
                </c:pt>
                <c:pt idx="160">
                  <c:v>1.95244760339226E-2</c:v>
                </c:pt>
                <c:pt idx="161">
                  <c:v>1.618623917447537E-2</c:v>
                </c:pt>
                <c:pt idx="162">
                  <c:v>1.7179690356808885E-2</c:v>
                </c:pt>
                <c:pt idx="163">
                  <c:v>2.4392802315077233E-2</c:v>
                </c:pt>
                <c:pt idx="164">
                  <c:v>2.2795847391472557E-2</c:v>
                </c:pt>
                <c:pt idx="165">
                  <c:v>2.6108628576404058E-2</c:v>
                </c:pt>
                <c:pt idx="166">
                  <c:v>1.1513176827526395E-2</c:v>
                </c:pt>
                <c:pt idx="167">
                  <c:v>8.0199295811520521E-3</c:v>
                </c:pt>
                <c:pt idx="168">
                  <c:v>5.6395286746431239E-3</c:v>
                </c:pt>
                <c:pt idx="169">
                  <c:v>2.1557556048348303E-3</c:v>
                </c:pt>
                <c:pt idx="170">
                  <c:v>-2.6193140248771396E-3</c:v>
                </c:pt>
                <c:pt idx="171">
                  <c:v>-3.3883840285851008E-3</c:v>
                </c:pt>
                <c:pt idx="172">
                  <c:v>-5.2427812549629138E-3</c:v>
                </c:pt>
                <c:pt idx="173">
                  <c:v>-7.2736948751501718E-3</c:v>
                </c:pt>
                <c:pt idx="174">
                  <c:v>-1.5501354612844409E-2</c:v>
                </c:pt>
                <c:pt idx="175">
                  <c:v>-1.6873726162050962E-2</c:v>
                </c:pt>
                <c:pt idx="176">
                  <c:v>-1.8550099709775614E-2</c:v>
                </c:pt>
                <c:pt idx="177">
                  <c:v>-6.505815453553998E-3</c:v>
                </c:pt>
                <c:pt idx="178">
                  <c:v>-1.345650654743713E-2</c:v>
                </c:pt>
                <c:pt idx="179">
                  <c:v>-1.1815891017951552E-2</c:v>
                </c:pt>
                <c:pt idx="180">
                  <c:v>-6.3787006093107834E-3</c:v>
                </c:pt>
                <c:pt idx="181">
                  <c:v>-1.5826813379608118E-2</c:v>
                </c:pt>
                <c:pt idx="182">
                  <c:v>-2.1649103052562735E-2</c:v>
                </c:pt>
                <c:pt idx="183">
                  <c:v>-2.2893906886941706E-2</c:v>
                </c:pt>
                <c:pt idx="184">
                  <c:v>-2.3511144910302151E-2</c:v>
                </c:pt>
                <c:pt idx="185">
                  <c:v>-2.071851318288509E-2</c:v>
                </c:pt>
                <c:pt idx="186">
                  <c:v>-2.8563841024616621E-2</c:v>
                </c:pt>
                <c:pt idx="187">
                  <c:v>-3.8262994904242897E-2</c:v>
                </c:pt>
                <c:pt idx="188">
                  <c:v>-3.0092066872714707E-2</c:v>
                </c:pt>
                <c:pt idx="189">
                  <c:v>-2.9503496334119306E-2</c:v>
                </c:pt>
                <c:pt idx="190">
                  <c:v>-4.985282123098056E-2</c:v>
                </c:pt>
                <c:pt idx="191">
                  <c:v>-4.8370206149584316E-2</c:v>
                </c:pt>
                <c:pt idx="192">
                  <c:v>-4.6719046010949228E-2</c:v>
                </c:pt>
                <c:pt idx="193">
                  <c:v>-5.3382009034701916E-2</c:v>
                </c:pt>
                <c:pt idx="194">
                  <c:v>-5.1753060958289354E-2</c:v>
                </c:pt>
                <c:pt idx="195">
                  <c:v>-5.0518910728941435E-2</c:v>
                </c:pt>
                <c:pt idx="196">
                  <c:v>-5.0326515952072937E-2</c:v>
                </c:pt>
                <c:pt idx="197">
                  <c:v>-5.2810128979819959E-2</c:v>
                </c:pt>
                <c:pt idx="198">
                  <c:v>-5.363510399337057E-2</c:v>
                </c:pt>
                <c:pt idx="199">
                  <c:v>-4.2260771985743184E-2</c:v>
                </c:pt>
                <c:pt idx="200">
                  <c:v>-3.7048872636082697E-2</c:v>
                </c:pt>
                <c:pt idx="201">
                  <c:v>-3.7171744157832864E-2</c:v>
                </c:pt>
                <c:pt idx="202">
                  <c:v>-3.6681572253467909E-2</c:v>
                </c:pt>
                <c:pt idx="203">
                  <c:v>-3.4605594826748853E-2</c:v>
                </c:pt>
                <c:pt idx="204">
                  <c:v>-3.2569446850362338E-2</c:v>
                </c:pt>
                <c:pt idx="205">
                  <c:v>-4.0561681134063665E-2</c:v>
                </c:pt>
                <c:pt idx="206">
                  <c:v>-4.0504246406352529E-2</c:v>
                </c:pt>
                <c:pt idx="207">
                  <c:v>-4.5015957861453848E-2</c:v>
                </c:pt>
                <c:pt idx="208">
                  <c:v>-4.6505661147079769E-2</c:v>
                </c:pt>
                <c:pt idx="209">
                  <c:v>-5.139530582691676E-2</c:v>
                </c:pt>
                <c:pt idx="210">
                  <c:v>-5.1133538750764651E-2</c:v>
                </c:pt>
                <c:pt idx="211">
                  <c:v>-4.3428432570914666E-2</c:v>
                </c:pt>
                <c:pt idx="212">
                  <c:v>-3.4806991617007954E-2</c:v>
                </c:pt>
                <c:pt idx="213">
                  <c:v>-3.8102068841609049E-2</c:v>
                </c:pt>
                <c:pt idx="214">
                  <c:v>-8.4340584650287265E-2</c:v>
                </c:pt>
                <c:pt idx="215">
                  <c:v>-0.10696193658784958</c:v>
                </c:pt>
                <c:pt idx="216">
                  <c:v>-0.13600733619270922</c:v>
                </c:pt>
                <c:pt idx="217">
                  <c:v>-0.16391675330934052</c:v>
                </c:pt>
                <c:pt idx="218">
                  <c:v>-0.12704005365484783</c:v>
                </c:pt>
                <c:pt idx="219">
                  <c:v>-5.6363770215741238E-2</c:v>
                </c:pt>
                <c:pt idx="220">
                  <c:v>-8.6972087205318016E-2</c:v>
                </c:pt>
                <c:pt idx="221">
                  <c:v>-8.651134290589968E-2</c:v>
                </c:pt>
                <c:pt idx="222">
                  <c:v>-8.1360475797569887E-2</c:v>
                </c:pt>
                <c:pt idx="223">
                  <c:v>-6.836699070548935E-2</c:v>
                </c:pt>
                <c:pt idx="224">
                  <c:v>-3.5882930865261398E-2</c:v>
                </c:pt>
                <c:pt idx="225">
                  <c:v>-4.5863100889216302E-2</c:v>
                </c:pt>
                <c:pt idx="226">
                  <c:v>-4.0834845985210477E-2</c:v>
                </c:pt>
                <c:pt idx="227">
                  <c:v>-3.9749176097736538E-2</c:v>
                </c:pt>
                <c:pt idx="228">
                  <c:v>5.5625284864361246E-3</c:v>
                </c:pt>
                <c:pt idx="229">
                  <c:v>-5.1614088184889217E-3</c:v>
                </c:pt>
                <c:pt idx="230">
                  <c:v>-1.9420424514219659E-2</c:v>
                </c:pt>
                <c:pt idx="231">
                  <c:v>-4.5446970827469624E-3</c:v>
                </c:pt>
                <c:pt idx="232">
                  <c:v>-4.5359261325053635E-2</c:v>
                </c:pt>
                <c:pt idx="233">
                  <c:v>-6.5563506604338628E-2</c:v>
                </c:pt>
                <c:pt idx="234">
                  <c:v>-6.4582615696739398E-2</c:v>
                </c:pt>
                <c:pt idx="235">
                  <c:v>-6.1032484913273399E-2</c:v>
                </c:pt>
                <c:pt idx="236">
                  <c:v>-6.9888141199219711E-2</c:v>
                </c:pt>
                <c:pt idx="237">
                  <c:v>-7.3699763701135845E-2</c:v>
                </c:pt>
                <c:pt idx="238">
                  <c:v>-8.6311559627746726E-2</c:v>
                </c:pt>
                <c:pt idx="239">
                  <c:v>-4.1851778140681528E-2</c:v>
                </c:pt>
                <c:pt idx="240">
                  <c:v>-7.2788933222787677E-2</c:v>
                </c:pt>
                <c:pt idx="241">
                  <c:v>-8.2601928643097677E-2</c:v>
                </c:pt>
                <c:pt idx="242">
                  <c:v>-0.10724332472551401</c:v>
                </c:pt>
                <c:pt idx="243">
                  <c:v>-0.13800133486948973</c:v>
                </c:pt>
                <c:pt idx="244">
                  <c:v>-0.12398081825516405</c:v>
                </c:pt>
                <c:pt idx="245">
                  <c:v>-0.10083991899937284</c:v>
                </c:pt>
                <c:pt idx="246">
                  <c:v>-0.1117598096309711</c:v>
                </c:pt>
                <c:pt idx="247">
                  <c:v>-8.5177641580117314E-2</c:v>
                </c:pt>
                <c:pt idx="248">
                  <c:v>-9.474223676802207E-2</c:v>
                </c:pt>
                <c:pt idx="249">
                  <c:v>-0.10798162111747844</c:v>
                </c:pt>
                <c:pt idx="250">
                  <c:v>-6.4997182710912926E-2</c:v>
                </c:pt>
                <c:pt idx="251">
                  <c:v>-9.6449371810185314E-2</c:v>
                </c:pt>
                <c:pt idx="252">
                  <c:v>-0.11287460758083623</c:v>
                </c:pt>
                <c:pt idx="253">
                  <c:v>-0.12131750811694297</c:v>
                </c:pt>
                <c:pt idx="254">
                  <c:v>-0.14536774349634052</c:v>
                </c:pt>
                <c:pt idx="255">
                  <c:v>-0.12258876649323913</c:v>
                </c:pt>
                <c:pt idx="256">
                  <c:v>-0.13853404124210267</c:v>
                </c:pt>
                <c:pt idx="257">
                  <c:v>-0.17951723028579913</c:v>
                </c:pt>
                <c:pt idx="258">
                  <c:v>-0.15374246229265021</c:v>
                </c:pt>
                <c:pt idx="259">
                  <c:v>-0.14620668417101024</c:v>
                </c:pt>
                <c:pt idx="260">
                  <c:v>-0.11413821670183277</c:v>
                </c:pt>
                <c:pt idx="261">
                  <c:v>-0.1038883419134482</c:v>
                </c:pt>
                <c:pt idx="262">
                  <c:v>-7.5138649503966204E-2</c:v>
                </c:pt>
                <c:pt idx="263">
                  <c:v>-7.0650159606745366E-2</c:v>
                </c:pt>
                <c:pt idx="264">
                  <c:v>-5.6351745723514757E-2</c:v>
                </c:pt>
                <c:pt idx="265">
                  <c:v>-3.2312224095001008E-2</c:v>
                </c:pt>
                <c:pt idx="266">
                  <c:v>-2.3451302285961151E-2</c:v>
                </c:pt>
                <c:pt idx="267">
                  <c:v>-1.3508473179905001E-2</c:v>
                </c:pt>
                <c:pt idx="268">
                  <c:v>2.5058018698559281E-2</c:v>
                </c:pt>
                <c:pt idx="269">
                  <c:v>4.978530243895718E-3</c:v>
                </c:pt>
                <c:pt idx="270">
                  <c:v>5.7791976241434062E-2</c:v>
                </c:pt>
                <c:pt idx="271">
                  <c:v>7.9032757106261342E-2</c:v>
                </c:pt>
                <c:pt idx="272">
                  <c:v>7.8267598122027993E-2</c:v>
                </c:pt>
                <c:pt idx="273">
                  <c:v>6.0211272763159407E-2</c:v>
                </c:pt>
                <c:pt idx="274">
                  <c:v>5.3507961371913382E-2</c:v>
                </c:pt>
                <c:pt idx="275">
                  <c:v>4.5394751551185997E-2</c:v>
                </c:pt>
                <c:pt idx="276">
                  <c:v>1.150125922119638E-2</c:v>
                </c:pt>
                <c:pt idx="277">
                  <c:v>-3.5792529881830237E-2</c:v>
                </c:pt>
                <c:pt idx="278">
                  <c:v>1.1347944671413979E-2</c:v>
                </c:pt>
                <c:pt idx="279">
                  <c:v>-8.2306790248877215E-3</c:v>
                </c:pt>
                <c:pt idx="280">
                  <c:v>-6.8854047830835152E-2</c:v>
                </c:pt>
                <c:pt idx="281">
                  <c:v>-2.6748638038103234E-2</c:v>
                </c:pt>
                <c:pt idx="282">
                  <c:v>-4.547312204797016E-2</c:v>
                </c:pt>
                <c:pt idx="283">
                  <c:v>-2.4962196340299836E-2</c:v>
                </c:pt>
                <c:pt idx="284">
                  <c:v>-3.6186754587531178E-2</c:v>
                </c:pt>
                <c:pt idx="285">
                  <c:v>-2.0098289195262353E-2</c:v>
                </c:pt>
                <c:pt idx="286">
                  <c:v>-4.3033480027332205E-2</c:v>
                </c:pt>
                <c:pt idx="287">
                  <c:v>-4.3356594514851299E-2</c:v>
                </c:pt>
                <c:pt idx="288">
                  <c:v>-3.5308420242105676E-2</c:v>
                </c:pt>
                <c:pt idx="289">
                  <c:v>-3.8799754410975495E-2</c:v>
                </c:pt>
                <c:pt idx="290">
                  <c:v>-4.6741096320404352E-2</c:v>
                </c:pt>
                <c:pt idx="291">
                  <c:v>-4.2923538410855167E-2</c:v>
                </c:pt>
                <c:pt idx="292">
                  <c:v>-4.3567431073065599E-2</c:v>
                </c:pt>
                <c:pt idx="293">
                  <c:v>-3.6792194367863296E-2</c:v>
                </c:pt>
                <c:pt idx="294">
                  <c:v>-3.6807634024155322E-2</c:v>
                </c:pt>
                <c:pt idx="295">
                  <c:v>-3.4109900081237043E-2</c:v>
                </c:pt>
                <c:pt idx="296">
                  <c:v>-3.9648494491890451E-2</c:v>
                </c:pt>
                <c:pt idx="297">
                  <c:v>-3.7250582065052606E-2</c:v>
                </c:pt>
                <c:pt idx="298">
                  <c:v>-3.3265414193627052E-2</c:v>
                </c:pt>
                <c:pt idx="299">
                  <c:v>-3.3389333771227325E-2</c:v>
                </c:pt>
                <c:pt idx="300">
                  <c:v>-3.0544210846672581E-2</c:v>
                </c:pt>
                <c:pt idx="301">
                  <c:v>-2.8840256664534381E-2</c:v>
                </c:pt>
                <c:pt idx="302">
                  <c:v>-3.1349394866799885E-2</c:v>
                </c:pt>
                <c:pt idx="303">
                  <c:v>-2.4033519265769243E-2</c:v>
                </c:pt>
                <c:pt idx="304">
                  <c:v>-1.3405316464971007E-2</c:v>
                </c:pt>
                <c:pt idx="305">
                  <c:v>-1.5644712131970273E-2</c:v>
                </c:pt>
                <c:pt idx="306">
                  <c:v>-1.6846636397981563E-2</c:v>
                </c:pt>
                <c:pt idx="307">
                  <c:v>-8.619256633217387E-3</c:v>
                </c:pt>
                <c:pt idx="308">
                  <c:v>-6.3294135663531925E-3</c:v>
                </c:pt>
                <c:pt idx="309">
                  <c:v>6.0098824573324716E-3</c:v>
                </c:pt>
                <c:pt idx="310">
                  <c:v>1.6847544434329675E-3</c:v>
                </c:pt>
                <c:pt idx="311">
                  <c:v>1.2381484633985029E-2</c:v>
                </c:pt>
                <c:pt idx="312">
                  <c:v>4.6729936728521215E-3</c:v>
                </c:pt>
                <c:pt idx="313">
                  <c:v>1.2250430847716598E-2</c:v>
                </c:pt>
                <c:pt idx="314">
                  <c:v>2.0738529023779262E-2</c:v>
                </c:pt>
                <c:pt idx="315">
                  <c:v>2.5924963577466764E-2</c:v>
                </c:pt>
                <c:pt idx="316">
                  <c:v>3.1034309756417966E-2</c:v>
                </c:pt>
                <c:pt idx="317">
                  <c:v>2.7769041558769914E-2</c:v>
                </c:pt>
                <c:pt idx="318">
                  <c:v>3.0077347947524369E-2</c:v>
                </c:pt>
                <c:pt idx="319">
                  <c:v>2.6435948295135625E-2</c:v>
                </c:pt>
                <c:pt idx="320">
                  <c:v>2.7970426936810178E-2</c:v>
                </c:pt>
                <c:pt idx="321">
                  <c:v>3.5692927946445629E-2</c:v>
                </c:pt>
                <c:pt idx="322">
                  <c:v>3.8626786539773139E-2</c:v>
                </c:pt>
                <c:pt idx="323">
                  <c:v>2.652521200025959E-2</c:v>
                </c:pt>
                <c:pt idx="324">
                  <c:v>3.2688027998720504E-2</c:v>
                </c:pt>
                <c:pt idx="325">
                  <c:v>1.7428457363452776E-2</c:v>
                </c:pt>
                <c:pt idx="326">
                  <c:v>1.8962886155849068E-2</c:v>
                </c:pt>
                <c:pt idx="327">
                  <c:v>2.5592272090805279E-3</c:v>
                </c:pt>
                <c:pt idx="328">
                  <c:v>-1.5348833173303933E-2</c:v>
                </c:pt>
                <c:pt idx="329">
                  <c:v>-2.6562308655194489E-2</c:v>
                </c:pt>
                <c:pt idx="330">
                  <c:v>-2.5237405843047789E-2</c:v>
                </c:pt>
                <c:pt idx="331">
                  <c:v>-3.2730831341471367E-2</c:v>
                </c:pt>
                <c:pt idx="332">
                  <c:v>-3.4199069669578752E-2</c:v>
                </c:pt>
                <c:pt idx="333">
                  <c:v>-3.8219142741757195E-2</c:v>
                </c:pt>
                <c:pt idx="334">
                  <c:v>-3.4147302169004301E-2</c:v>
                </c:pt>
                <c:pt idx="335">
                  <c:v>-2.8408971612450928E-2</c:v>
                </c:pt>
                <c:pt idx="336">
                  <c:v>-3.4598765993534508E-2</c:v>
                </c:pt>
                <c:pt idx="337">
                  <c:v>-3.2344221498505243E-2</c:v>
                </c:pt>
                <c:pt idx="338">
                  <c:v>-3.1714777414623252E-2</c:v>
                </c:pt>
                <c:pt idx="339">
                  <c:v>-3.7067641130368978E-2</c:v>
                </c:pt>
                <c:pt idx="340">
                  <c:v>-2.3039018831762959E-2</c:v>
                </c:pt>
                <c:pt idx="341">
                  <c:v>-1.948988361227999E-2</c:v>
                </c:pt>
                <c:pt idx="342">
                  <c:v>-3.1226762520035756E-3</c:v>
                </c:pt>
                <c:pt idx="343">
                  <c:v>-7.4641836140285633E-3</c:v>
                </c:pt>
                <c:pt idx="344">
                  <c:v>-1.4424811233711865E-2</c:v>
                </c:pt>
                <c:pt idx="345">
                  <c:v>-7.1631799826797904E-3</c:v>
                </c:pt>
                <c:pt idx="346">
                  <c:v>-2.1045010304657552E-2</c:v>
                </c:pt>
                <c:pt idx="347">
                  <c:v>-1.8272627931254393E-2</c:v>
                </c:pt>
                <c:pt idx="348">
                  <c:v>-1.3514879019331461E-2</c:v>
                </c:pt>
                <c:pt idx="349">
                  <c:v>-1.1067956167245541E-2</c:v>
                </c:pt>
                <c:pt idx="350">
                  <c:v>-1.7858929671837886E-3</c:v>
                </c:pt>
                <c:pt idx="351">
                  <c:v>6.4460028157439231E-3</c:v>
                </c:pt>
                <c:pt idx="352">
                  <c:v>1.9615817591869256E-3</c:v>
                </c:pt>
                <c:pt idx="353">
                  <c:v>-3.6013330455626491E-3</c:v>
                </c:pt>
                <c:pt idx="354">
                  <c:v>-9.7777174680417911E-3</c:v>
                </c:pt>
                <c:pt idx="355">
                  <c:v>2.0718495851720364E-3</c:v>
                </c:pt>
                <c:pt idx="356">
                  <c:v>-1.1395070131739127E-2</c:v>
                </c:pt>
                <c:pt idx="357">
                  <c:v>-6.1840117064466682E-3</c:v>
                </c:pt>
                <c:pt idx="358">
                  <c:v>1.3195072025407817E-2</c:v>
                </c:pt>
                <c:pt idx="359">
                  <c:v>2.9617161035496609E-2</c:v>
                </c:pt>
                <c:pt idx="360">
                  <c:v>1.7570900956167312E-2</c:v>
                </c:pt>
                <c:pt idx="361">
                  <c:v>1.7894431274498523E-2</c:v>
                </c:pt>
                <c:pt idx="362">
                  <c:v>3.3808943893274268E-3</c:v>
                </c:pt>
                <c:pt idx="363">
                  <c:v>7.8542939899636233E-3</c:v>
                </c:pt>
                <c:pt idx="364">
                  <c:v>6.4739068152649404E-3</c:v>
                </c:pt>
                <c:pt idx="365">
                  <c:v>8.91072380670066E-3</c:v>
                </c:pt>
                <c:pt idx="366">
                  <c:v>1.8888782071352694E-2</c:v>
                </c:pt>
                <c:pt idx="367">
                  <c:v>2.9102108915255442E-3</c:v>
                </c:pt>
                <c:pt idx="368">
                  <c:v>8.459880986559809E-3</c:v>
                </c:pt>
                <c:pt idx="369">
                  <c:v>1.0827752644932631E-2</c:v>
                </c:pt>
                <c:pt idx="370">
                  <c:v>1.14063211777643E-2</c:v>
                </c:pt>
                <c:pt idx="371">
                  <c:v>8.9738995338679572E-3</c:v>
                </c:pt>
                <c:pt idx="372">
                  <c:v>7.4147743743360195E-3</c:v>
                </c:pt>
                <c:pt idx="373">
                  <c:v>-2.4190019620342618E-3</c:v>
                </c:pt>
                <c:pt idx="374">
                  <c:v>-6.9832302234866805E-3</c:v>
                </c:pt>
                <c:pt idx="375">
                  <c:v>5.0108316163233191E-4</c:v>
                </c:pt>
                <c:pt idx="376">
                  <c:v>-3.4796306105566721E-3</c:v>
                </c:pt>
                <c:pt idx="377">
                  <c:v>-2.633627539094352E-3</c:v>
                </c:pt>
                <c:pt idx="378">
                  <c:v>-1.1248870450188186E-2</c:v>
                </c:pt>
                <c:pt idx="379">
                  <c:v>-4.6209592513890563E-3</c:v>
                </c:pt>
                <c:pt idx="380">
                  <c:v>-5.7096791335854435E-3</c:v>
                </c:pt>
                <c:pt idx="381">
                  <c:v>-1.2104830905976804E-2</c:v>
                </c:pt>
                <c:pt idx="382">
                  <c:v>-8.7115318724295676E-3</c:v>
                </c:pt>
                <c:pt idx="383">
                  <c:v>-7.4958304653588437E-3</c:v>
                </c:pt>
                <c:pt idx="384">
                  <c:v>-4.4214105323824304E-3</c:v>
                </c:pt>
                <c:pt idx="385">
                  <c:v>4.3854788563413294E-3</c:v>
                </c:pt>
                <c:pt idx="386">
                  <c:v>5.1994372209370754E-3</c:v>
                </c:pt>
                <c:pt idx="387">
                  <c:v>2.4015603104919903E-3</c:v>
                </c:pt>
                <c:pt idx="388">
                  <c:v>1.7857421131802775E-3</c:v>
                </c:pt>
                <c:pt idx="389">
                  <c:v>-3.6291831348936876E-3</c:v>
                </c:pt>
                <c:pt idx="390">
                  <c:v>-4.1002281867372758E-3</c:v>
                </c:pt>
                <c:pt idx="391">
                  <c:v>7.8606845956674665E-4</c:v>
                </c:pt>
                <c:pt idx="392">
                  <c:v>-1.7659002629888398E-4</c:v>
                </c:pt>
                <c:pt idx="393">
                  <c:v>-1.7202934872613151E-2</c:v>
                </c:pt>
                <c:pt idx="394">
                  <c:v>-3.289986142107526E-2</c:v>
                </c:pt>
                <c:pt idx="395">
                  <c:v>-3.5043511184701726E-2</c:v>
                </c:pt>
                <c:pt idx="396">
                  <c:v>-3.5746356642225696E-2</c:v>
                </c:pt>
                <c:pt idx="397">
                  <c:v>-1.7452378842638394E-2</c:v>
                </c:pt>
                <c:pt idx="398">
                  <c:v>-2.2642504361229721E-2</c:v>
                </c:pt>
                <c:pt idx="399">
                  <c:v>-2.269583746496151E-2</c:v>
                </c:pt>
                <c:pt idx="400">
                  <c:v>-2.7130463236399671E-2</c:v>
                </c:pt>
                <c:pt idx="401">
                  <c:v>-2.4918958426658699E-2</c:v>
                </c:pt>
                <c:pt idx="402">
                  <c:v>-2.556734290017082E-2</c:v>
                </c:pt>
                <c:pt idx="403">
                  <c:v>-1.6937830849023894E-2</c:v>
                </c:pt>
                <c:pt idx="404">
                  <c:v>-1.2052422161396459E-2</c:v>
                </c:pt>
                <c:pt idx="405">
                  <c:v>-2.2985814943959793E-2</c:v>
                </c:pt>
                <c:pt idx="406">
                  <c:v>-2.1931950273359813E-2</c:v>
                </c:pt>
                <c:pt idx="407">
                  <c:v>-1.9881211759950723E-2</c:v>
                </c:pt>
                <c:pt idx="408">
                  <c:v>-1.0787625311060367E-2</c:v>
                </c:pt>
                <c:pt idx="409">
                  <c:v>-1.1113429579956202E-2</c:v>
                </c:pt>
                <c:pt idx="410">
                  <c:v>-4.3073704727619733E-3</c:v>
                </c:pt>
                <c:pt idx="411">
                  <c:v>-6.1630706925939194E-3</c:v>
                </c:pt>
                <c:pt idx="412">
                  <c:v>-7.4291566827591193E-3</c:v>
                </c:pt>
                <c:pt idx="413">
                  <c:v>2.1471331448651432E-3</c:v>
                </c:pt>
                <c:pt idx="414">
                  <c:v>-2.9581865692214215E-3</c:v>
                </c:pt>
                <c:pt idx="415">
                  <c:v>-5.4051386205872243E-3</c:v>
                </c:pt>
                <c:pt idx="416">
                  <c:v>2.8873085282169475E-3</c:v>
                </c:pt>
                <c:pt idx="417">
                  <c:v>8.4571437696981944E-3</c:v>
                </c:pt>
                <c:pt idx="418">
                  <c:v>7.9171513134129734E-3</c:v>
                </c:pt>
                <c:pt idx="419">
                  <c:v>1.257881916481951E-2</c:v>
                </c:pt>
                <c:pt idx="420">
                  <c:v>7.1249048442105778E-3</c:v>
                </c:pt>
                <c:pt idx="421">
                  <c:v>3.8188832786777427E-3</c:v>
                </c:pt>
                <c:pt idx="422">
                  <c:v>1.6117046288167791E-2</c:v>
                </c:pt>
                <c:pt idx="423">
                  <c:v>2.9080192319634213E-2</c:v>
                </c:pt>
                <c:pt idx="424">
                  <c:v>3.9971053022992753E-2</c:v>
                </c:pt>
                <c:pt idx="425">
                  <c:v>4.1190893123960959E-2</c:v>
                </c:pt>
                <c:pt idx="426">
                  <c:v>4.3681032537389419E-2</c:v>
                </c:pt>
                <c:pt idx="427">
                  <c:v>4.4787088465908509E-2</c:v>
                </c:pt>
                <c:pt idx="428">
                  <c:v>5.3140682956443697E-2</c:v>
                </c:pt>
                <c:pt idx="429">
                  <c:v>5.3863089399724617E-2</c:v>
                </c:pt>
                <c:pt idx="430">
                  <c:v>5.2616381556690461E-2</c:v>
                </c:pt>
                <c:pt idx="431">
                  <c:v>4.1097919562672502E-2</c:v>
                </c:pt>
                <c:pt idx="432">
                  <c:v>4.3998764222443976E-2</c:v>
                </c:pt>
                <c:pt idx="433">
                  <c:v>3.272040037456958E-2</c:v>
                </c:pt>
                <c:pt idx="434">
                  <c:v>4.0011524891382488E-2</c:v>
                </c:pt>
                <c:pt idx="435">
                  <c:v>4.3905813000166161E-2</c:v>
                </c:pt>
                <c:pt idx="436">
                  <c:v>4.6336046516100793E-2</c:v>
                </c:pt>
                <c:pt idx="437">
                  <c:v>3.9525768195718181E-2</c:v>
                </c:pt>
                <c:pt idx="438">
                  <c:v>3.5859756054979264E-2</c:v>
                </c:pt>
                <c:pt idx="439">
                  <c:v>2.2015363267173682E-2</c:v>
                </c:pt>
                <c:pt idx="440">
                  <c:v>1.2638626085100357E-2</c:v>
                </c:pt>
                <c:pt idx="441">
                  <c:v>1.1198788339053967E-2</c:v>
                </c:pt>
                <c:pt idx="442">
                  <c:v>1.1739174787074647E-2</c:v>
                </c:pt>
                <c:pt idx="443">
                  <c:v>1.2290819702132194E-2</c:v>
                </c:pt>
                <c:pt idx="444">
                  <c:v>1.15846132609293E-2</c:v>
                </c:pt>
                <c:pt idx="445">
                  <c:v>9.7796041171063219E-3</c:v>
                </c:pt>
                <c:pt idx="446">
                  <c:v>1.2490975574138474E-2</c:v>
                </c:pt>
                <c:pt idx="447">
                  <c:v>8.5751217463436724E-3</c:v>
                </c:pt>
                <c:pt idx="448">
                  <c:v>4.1237179746080876E-3</c:v>
                </c:pt>
                <c:pt idx="449">
                  <c:v>4.5764335283723367E-3</c:v>
                </c:pt>
                <c:pt idx="450">
                  <c:v>1.1281757446066965E-2</c:v>
                </c:pt>
                <c:pt idx="451">
                  <c:v>1.9741631669799142E-2</c:v>
                </c:pt>
                <c:pt idx="452">
                  <c:v>1.1667973194052883E-2</c:v>
                </c:pt>
                <c:pt idx="453">
                  <c:v>7.9740869096619482E-3</c:v>
                </c:pt>
                <c:pt idx="454">
                  <c:v>1.1515891478788731E-2</c:v>
                </c:pt>
                <c:pt idx="455">
                  <c:v>1.9234428494050104E-2</c:v>
                </c:pt>
                <c:pt idx="456">
                  <c:v>-1.0547254777336645E-3</c:v>
                </c:pt>
                <c:pt idx="457">
                  <c:v>-3.3699312012824834E-4</c:v>
                </c:pt>
                <c:pt idx="458">
                  <c:v>-4.503463262034435E-4</c:v>
                </c:pt>
                <c:pt idx="459">
                  <c:v>-9.2555880170454019E-3</c:v>
                </c:pt>
                <c:pt idx="460">
                  <c:v>-6.2913886736069013E-3</c:v>
                </c:pt>
                <c:pt idx="461">
                  <c:v>-8.9210184880466059E-3</c:v>
                </c:pt>
                <c:pt idx="462">
                  <c:v>-1.1756324554418551E-2</c:v>
                </c:pt>
                <c:pt idx="463">
                  <c:v>7.5413725059880754E-4</c:v>
                </c:pt>
                <c:pt idx="464">
                  <c:v>-8.0792438303276537E-3</c:v>
                </c:pt>
                <c:pt idx="465">
                  <c:v>-1.2076841984494768E-2</c:v>
                </c:pt>
                <c:pt idx="466">
                  <c:v>-1.2058289403938605E-2</c:v>
                </c:pt>
                <c:pt idx="467">
                  <c:v>-8.5843802432719052E-3</c:v>
                </c:pt>
                <c:pt idx="468">
                  <c:v>-1.1488530351998705E-2</c:v>
                </c:pt>
                <c:pt idx="469">
                  <c:v>2.8029510196826424E-3</c:v>
                </c:pt>
                <c:pt idx="470">
                  <c:v>6.2661485358042057E-3</c:v>
                </c:pt>
                <c:pt idx="471">
                  <c:v>9.2562727981956305E-3</c:v>
                </c:pt>
                <c:pt idx="472">
                  <c:v>1.3553035832538973E-2</c:v>
                </c:pt>
                <c:pt idx="473">
                  <c:v>1.9097745380742936E-2</c:v>
                </c:pt>
                <c:pt idx="474">
                  <c:v>2.7014730780005047E-2</c:v>
                </c:pt>
                <c:pt idx="475">
                  <c:v>1.8256987446288675E-2</c:v>
                </c:pt>
                <c:pt idx="476">
                  <c:v>1.1987521889069597E-2</c:v>
                </c:pt>
                <c:pt idx="477">
                  <c:v>7.2814438845791862E-3</c:v>
                </c:pt>
                <c:pt idx="478">
                  <c:v>1.0777521144423652E-2</c:v>
                </c:pt>
                <c:pt idx="479">
                  <c:v>9.8584453682039053E-3</c:v>
                </c:pt>
                <c:pt idx="480">
                  <c:v>1.2024522683832584E-2</c:v>
                </c:pt>
                <c:pt idx="481">
                  <c:v>3.5038137737727348E-3</c:v>
                </c:pt>
                <c:pt idx="482">
                  <c:v>1.1105103047084119E-2</c:v>
                </c:pt>
                <c:pt idx="483">
                  <c:v>9.3700910581392405E-3</c:v>
                </c:pt>
                <c:pt idx="484">
                  <c:v>2.7181686954097506E-3</c:v>
                </c:pt>
                <c:pt idx="485">
                  <c:v>-1.642051885517104E-2</c:v>
                </c:pt>
                <c:pt idx="486">
                  <c:v>-2.9466978780195996E-3</c:v>
                </c:pt>
                <c:pt idx="487">
                  <c:v>-3.7187149719541956E-4</c:v>
                </c:pt>
                <c:pt idx="488">
                  <c:v>-9.0518063984017516E-3</c:v>
                </c:pt>
                <c:pt idx="489">
                  <c:v>-1.7676460954607842E-2</c:v>
                </c:pt>
                <c:pt idx="490">
                  <c:v>-1.7196005413321336E-2</c:v>
                </c:pt>
                <c:pt idx="491">
                  <c:v>-4.8147712102253326E-3</c:v>
                </c:pt>
                <c:pt idx="492">
                  <c:v>-5.3822017613669448E-3</c:v>
                </c:pt>
                <c:pt idx="493">
                  <c:v>-2.0114330354007226E-2</c:v>
                </c:pt>
                <c:pt idx="494">
                  <c:v>-1.0228086198337039E-2</c:v>
                </c:pt>
                <c:pt idx="495">
                  <c:v>-1.2469332060956018E-2</c:v>
                </c:pt>
                <c:pt idx="496">
                  <c:v>-7.8769776381156786E-3</c:v>
                </c:pt>
                <c:pt idx="497">
                  <c:v>-1.1108457325349375E-2</c:v>
                </c:pt>
                <c:pt idx="498">
                  <c:v>-9.8877446816576509E-3</c:v>
                </c:pt>
                <c:pt idx="499">
                  <c:v>-1.2038930008817506E-2</c:v>
                </c:pt>
                <c:pt idx="500">
                  <c:v>-9.1709237170267688E-3</c:v>
                </c:pt>
                <c:pt idx="501">
                  <c:v>-6.1564186333464832E-3</c:v>
                </c:pt>
                <c:pt idx="502">
                  <c:v>-9.3734662071444097E-3</c:v>
                </c:pt>
                <c:pt idx="503">
                  <c:v>-1.5780260976189786E-2</c:v>
                </c:pt>
                <c:pt idx="504">
                  <c:v>-2.2994216311430282E-2</c:v>
                </c:pt>
                <c:pt idx="505">
                  <c:v>-1.4024023718412382E-2</c:v>
                </c:pt>
                <c:pt idx="506">
                  <c:v>-1.3348987220526687E-2</c:v>
                </c:pt>
                <c:pt idx="507">
                  <c:v>-9.4796729905696209E-3</c:v>
                </c:pt>
                <c:pt idx="508">
                  <c:v>-8.5607061877339685E-3</c:v>
                </c:pt>
                <c:pt idx="509">
                  <c:v>-1.4965726802037005E-2</c:v>
                </c:pt>
                <c:pt idx="510">
                  <c:v>-1.4199224164055613E-2</c:v>
                </c:pt>
                <c:pt idx="511">
                  <c:v>-1.9910090744243214E-2</c:v>
                </c:pt>
                <c:pt idx="512">
                  <c:v>-2.1863729251743624E-2</c:v>
                </c:pt>
                <c:pt idx="513">
                  <c:v>-1.6030455754031725E-2</c:v>
                </c:pt>
                <c:pt idx="514">
                  <c:v>-1.1136744100688656E-2</c:v>
                </c:pt>
                <c:pt idx="515">
                  <c:v>4.1879409568390535E-3</c:v>
                </c:pt>
                <c:pt idx="516">
                  <c:v>4.4920296854398245E-3</c:v>
                </c:pt>
                <c:pt idx="517">
                  <c:v>-2.3877435680255132E-3</c:v>
                </c:pt>
                <c:pt idx="518">
                  <c:v>7.6590745610430888E-3</c:v>
                </c:pt>
                <c:pt idx="519">
                  <c:v>1.6512595679045838E-2</c:v>
                </c:pt>
                <c:pt idx="520">
                  <c:v>1.3466685554012647E-2</c:v>
                </c:pt>
                <c:pt idx="521">
                  <c:v>1.0228912649998478E-2</c:v>
                </c:pt>
                <c:pt idx="522">
                  <c:v>1.3267239854210633E-2</c:v>
                </c:pt>
                <c:pt idx="523">
                  <c:v>2.2711526918501534E-2</c:v>
                </c:pt>
                <c:pt idx="524">
                  <c:v>2.1454862147806564E-2</c:v>
                </c:pt>
                <c:pt idx="525">
                  <c:v>1.9378322980206142E-2</c:v>
                </c:pt>
                <c:pt idx="526">
                  <c:v>1.6284774393994783E-2</c:v>
                </c:pt>
                <c:pt idx="527">
                  <c:v>1.8353135142818222E-2</c:v>
                </c:pt>
                <c:pt idx="528">
                  <c:v>1.5023535829367995E-2</c:v>
                </c:pt>
                <c:pt idx="529">
                  <c:v>1.2190292340009568E-2</c:v>
                </c:pt>
                <c:pt idx="530">
                  <c:v>1.2298782319488E-2</c:v>
                </c:pt>
                <c:pt idx="531">
                  <c:v>1.1949172206161096E-2</c:v>
                </c:pt>
                <c:pt idx="532">
                  <c:v>1.8635283563914751E-3</c:v>
                </c:pt>
                <c:pt idx="533">
                  <c:v>3.5419485152700103E-3</c:v>
                </c:pt>
                <c:pt idx="534">
                  <c:v>3.2116121944149034E-3</c:v>
                </c:pt>
                <c:pt idx="535">
                  <c:v>-5.5418067579160457E-3</c:v>
                </c:pt>
                <c:pt idx="536">
                  <c:v>-4.8426851946485883E-3</c:v>
                </c:pt>
                <c:pt idx="537">
                  <c:v>-1.3620546325718852E-3</c:v>
                </c:pt>
                <c:pt idx="538">
                  <c:v>-1.3115429729949613E-3</c:v>
                </c:pt>
                <c:pt idx="539">
                  <c:v>5.7924473241479646E-3</c:v>
                </c:pt>
                <c:pt idx="540">
                  <c:v>1.3061918705776665E-2</c:v>
                </c:pt>
                <c:pt idx="541">
                  <c:v>2.2564751344153144E-2</c:v>
                </c:pt>
                <c:pt idx="542">
                  <c:v>2.76956247230421E-2</c:v>
                </c:pt>
                <c:pt idx="543">
                  <c:v>2.219644341399829E-2</c:v>
                </c:pt>
                <c:pt idx="544">
                  <c:v>1.931404221364863E-2</c:v>
                </c:pt>
                <c:pt idx="545">
                  <c:v>4.7543129504830084E-3</c:v>
                </c:pt>
                <c:pt idx="546">
                  <c:v>3.5367194640142374E-3</c:v>
                </c:pt>
                <c:pt idx="547">
                  <c:v>1.184968338415382E-2</c:v>
                </c:pt>
                <c:pt idx="548">
                  <c:v>1.7633738416952704E-2</c:v>
                </c:pt>
                <c:pt idx="549">
                  <c:v>1.8475542305945281E-2</c:v>
                </c:pt>
                <c:pt idx="550">
                  <c:v>1.6254951551452623E-2</c:v>
                </c:pt>
                <c:pt idx="551">
                  <c:v>2.7683958531634634E-2</c:v>
                </c:pt>
                <c:pt idx="552">
                  <c:v>2.9324202597347804E-2</c:v>
                </c:pt>
                <c:pt idx="553">
                  <c:v>2.4921178276584244E-2</c:v>
                </c:pt>
                <c:pt idx="554">
                  <c:v>2.7154416059510189E-2</c:v>
                </c:pt>
                <c:pt idx="555">
                  <c:v>2.9091760092024299E-2</c:v>
                </c:pt>
                <c:pt idx="556">
                  <c:v>3.0761152579186768E-2</c:v>
                </c:pt>
                <c:pt idx="557">
                  <c:v>3.6031598967444456E-2</c:v>
                </c:pt>
                <c:pt idx="558">
                  <c:v>3.2971195954264121E-2</c:v>
                </c:pt>
                <c:pt idx="559">
                  <c:v>2.9114657150906109E-2</c:v>
                </c:pt>
                <c:pt idx="560">
                  <c:v>3.273378234016644E-2</c:v>
                </c:pt>
                <c:pt idx="561">
                  <c:v>2.8468529031877576E-2</c:v>
                </c:pt>
                <c:pt idx="562">
                  <c:v>3.9657670242843945E-2</c:v>
                </c:pt>
                <c:pt idx="563">
                  <c:v>2.9424531816405697E-2</c:v>
                </c:pt>
                <c:pt idx="564">
                  <c:v>2.4494341168403988E-2</c:v>
                </c:pt>
                <c:pt idx="565">
                  <c:v>2.9626885148651305E-2</c:v>
                </c:pt>
                <c:pt idx="566">
                  <c:v>2.6930327357059802E-2</c:v>
                </c:pt>
                <c:pt idx="567">
                  <c:v>2.0917309273577933E-2</c:v>
                </c:pt>
                <c:pt idx="568">
                  <c:v>1.9514348148052085E-2</c:v>
                </c:pt>
                <c:pt idx="569">
                  <c:v>9.3242046099234477E-3</c:v>
                </c:pt>
                <c:pt idx="570">
                  <c:v>-2.0978447285198154E-3</c:v>
                </c:pt>
                <c:pt idx="571">
                  <c:v>-4.4939522267468668E-3</c:v>
                </c:pt>
                <c:pt idx="572">
                  <c:v>-3.3232623570419451E-3</c:v>
                </c:pt>
                <c:pt idx="573">
                  <c:v>2.2173169599011278E-3</c:v>
                </c:pt>
                <c:pt idx="574">
                  <c:v>1.6577709835972065E-3</c:v>
                </c:pt>
                <c:pt idx="575">
                  <c:v>1.1387912485326779E-2</c:v>
                </c:pt>
                <c:pt idx="576">
                  <c:v>1.0083733030667563E-2</c:v>
                </c:pt>
                <c:pt idx="577">
                  <c:v>6.0143439831078505E-3</c:v>
                </c:pt>
                <c:pt idx="578">
                  <c:v>-3.7659547407800087E-3</c:v>
                </c:pt>
                <c:pt idx="579">
                  <c:v>-2.026166065499535E-2</c:v>
                </c:pt>
                <c:pt idx="580">
                  <c:v>-2.1221546329601715E-2</c:v>
                </c:pt>
                <c:pt idx="581">
                  <c:v>-3.9242035740378212E-2</c:v>
                </c:pt>
                <c:pt idx="582">
                  <c:v>-4.1261168769235135E-2</c:v>
                </c:pt>
                <c:pt idx="583">
                  <c:v>-4.8624854624202296E-2</c:v>
                </c:pt>
                <c:pt idx="584">
                  <c:v>-5.2030243589909708E-2</c:v>
                </c:pt>
                <c:pt idx="585">
                  <c:v>-5.0279335921699309E-2</c:v>
                </c:pt>
                <c:pt idx="586">
                  <c:v>-4.9361583683398047E-2</c:v>
                </c:pt>
                <c:pt idx="587">
                  <c:v>-6.5476657379571868E-2</c:v>
                </c:pt>
                <c:pt idx="588">
                  <c:v>-7.5911754230865602E-2</c:v>
                </c:pt>
                <c:pt idx="589">
                  <c:v>-7.8205881728582338E-2</c:v>
                </c:pt>
                <c:pt idx="590">
                  <c:v>-8.1258695191300134E-2</c:v>
                </c:pt>
                <c:pt idx="591">
                  <c:v>-7.9447448539289645E-2</c:v>
                </c:pt>
                <c:pt idx="592">
                  <c:v>-8.7852500197614813E-2</c:v>
                </c:pt>
                <c:pt idx="593">
                  <c:v>-7.0409068557521715E-2</c:v>
                </c:pt>
                <c:pt idx="594">
                  <c:v>-6.6880112478531872E-2</c:v>
                </c:pt>
                <c:pt idx="595">
                  <c:v>-6.2220941757060721E-2</c:v>
                </c:pt>
                <c:pt idx="596">
                  <c:v>-6.5729352841997324E-2</c:v>
                </c:pt>
                <c:pt idx="597">
                  <c:v>-6.4506161484732538E-2</c:v>
                </c:pt>
                <c:pt idx="598">
                  <c:v>-6.0655602219849669E-2</c:v>
                </c:pt>
                <c:pt idx="599">
                  <c:v>-5.0285337047713208E-2</c:v>
                </c:pt>
                <c:pt idx="600">
                  <c:v>-3.8008881645344994E-2</c:v>
                </c:pt>
                <c:pt idx="601">
                  <c:v>-4.7930425415488309E-2</c:v>
                </c:pt>
                <c:pt idx="602">
                  <c:v>-3.9754552520034903E-2</c:v>
                </c:pt>
                <c:pt idx="603">
                  <c:v>-5.8346807295994729E-5</c:v>
                </c:pt>
                <c:pt idx="604">
                  <c:v>1.2025944525880461E-2</c:v>
                </c:pt>
                <c:pt idx="605">
                  <c:v>2.965185877127241E-3</c:v>
                </c:pt>
                <c:pt idx="606">
                  <c:v>-1.5598696956732216E-2</c:v>
                </c:pt>
                <c:pt idx="607">
                  <c:v>-1.4679431061093928E-2</c:v>
                </c:pt>
                <c:pt idx="608">
                  <c:v>-4.1527354434932606E-3</c:v>
                </c:pt>
                <c:pt idx="609">
                  <c:v>-1.6590139951830341E-2</c:v>
                </c:pt>
                <c:pt idx="610">
                  <c:v>-3.3899087068896328E-2</c:v>
                </c:pt>
                <c:pt idx="611">
                  <c:v>9.1721316538062592E-3</c:v>
                </c:pt>
                <c:pt idx="612">
                  <c:v>8.3838159831494119E-3</c:v>
                </c:pt>
                <c:pt idx="613">
                  <c:v>7.3707697437982445E-3</c:v>
                </c:pt>
                <c:pt idx="614">
                  <c:v>-7.0796342779364529E-3</c:v>
                </c:pt>
                <c:pt idx="615">
                  <c:v>-1.1698406762489899E-2</c:v>
                </c:pt>
                <c:pt idx="616">
                  <c:v>-1.5529194736436547E-2</c:v>
                </c:pt>
                <c:pt idx="617">
                  <c:v>4.8207724173742195E-3</c:v>
                </c:pt>
                <c:pt idx="618">
                  <c:v>-1.7491751430431801E-4</c:v>
                </c:pt>
                <c:pt idx="619">
                  <c:v>1.5194751644771132E-2</c:v>
                </c:pt>
                <c:pt idx="620">
                  <c:v>3.5945634906476509E-2</c:v>
                </c:pt>
                <c:pt idx="621">
                  <c:v>2.7024109713855271E-2</c:v>
                </c:pt>
                <c:pt idx="622">
                  <c:v>6.3748416201811042E-2</c:v>
                </c:pt>
                <c:pt idx="623">
                  <c:v>7.9197091247845242E-2</c:v>
                </c:pt>
                <c:pt idx="624">
                  <c:v>8.025481454579797E-2</c:v>
                </c:pt>
                <c:pt idx="625">
                  <c:v>9.2481993851503241E-2</c:v>
                </c:pt>
                <c:pt idx="626">
                  <c:v>9.0385572622846411E-2</c:v>
                </c:pt>
                <c:pt idx="627">
                  <c:v>7.9630612729779449E-2</c:v>
                </c:pt>
                <c:pt idx="628">
                  <c:v>7.5876683589928828E-2</c:v>
                </c:pt>
                <c:pt idx="629">
                  <c:v>6.703594772887389E-2</c:v>
                </c:pt>
                <c:pt idx="630">
                  <c:v>4.124310240568041E-2</c:v>
                </c:pt>
                <c:pt idx="631">
                  <c:v>8.0543640412526041E-2</c:v>
                </c:pt>
                <c:pt idx="632">
                  <c:v>8.7726570948813476E-2</c:v>
                </c:pt>
                <c:pt idx="633">
                  <c:v>5.1277999530294049E-2</c:v>
                </c:pt>
                <c:pt idx="634">
                  <c:v>3.2974883507403741E-2</c:v>
                </c:pt>
                <c:pt idx="635">
                  <c:v>3.863159412357231E-2</c:v>
                </c:pt>
                <c:pt idx="636">
                  <c:v>6.3310072637423442E-2</c:v>
                </c:pt>
                <c:pt idx="637">
                  <c:v>6.7622737233983654E-2</c:v>
                </c:pt>
                <c:pt idx="638">
                  <c:v>7.3280707759448283E-2</c:v>
                </c:pt>
                <c:pt idx="639">
                  <c:v>6.1026307934453405E-2</c:v>
                </c:pt>
                <c:pt idx="640">
                  <c:v>7.829112383326664E-2</c:v>
                </c:pt>
                <c:pt idx="641">
                  <c:v>7.2193887650269739E-2</c:v>
                </c:pt>
                <c:pt idx="642">
                  <c:v>5.3441116799722688E-2</c:v>
                </c:pt>
                <c:pt idx="643">
                  <c:v>3.320487501322994E-2</c:v>
                </c:pt>
                <c:pt idx="644">
                  <c:v>2.7891126077066453E-2</c:v>
                </c:pt>
                <c:pt idx="645">
                  <c:v>2.8311840515746811E-2</c:v>
                </c:pt>
                <c:pt idx="646">
                  <c:v>-5.8143794054785869E-2</c:v>
                </c:pt>
                <c:pt idx="647">
                  <c:v>-5.2014164886795555E-2</c:v>
                </c:pt>
                <c:pt idx="648">
                  <c:v>-5.3980538862581806E-2</c:v>
                </c:pt>
                <c:pt idx="649">
                  <c:v>-5.4094420016775557E-2</c:v>
                </c:pt>
                <c:pt idx="650">
                  <c:v>-3.3841407357299236E-2</c:v>
                </c:pt>
                <c:pt idx="651">
                  <c:v>-1.837391835941804E-2</c:v>
                </c:pt>
                <c:pt idx="652">
                  <c:v>-2.5107220505286021E-3</c:v>
                </c:pt>
                <c:pt idx="653">
                  <c:v>5.2939716304464257E-3</c:v>
                </c:pt>
                <c:pt idx="654">
                  <c:v>1.3190238717647573E-2</c:v>
                </c:pt>
                <c:pt idx="655">
                  <c:v>-1.6914057729081056E-2</c:v>
                </c:pt>
                <c:pt idx="656">
                  <c:v>-2.4401685314704435E-3</c:v>
                </c:pt>
                <c:pt idx="657">
                  <c:v>-6.1500429472826079E-3</c:v>
                </c:pt>
                <c:pt idx="658">
                  <c:v>-1.7937498433409194E-2</c:v>
                </c:pt>
                <c:pt idx="659">
                  <c:v>-1.7518429294530957E-2</c:v>
                </c:pt>
                <c:pt idx="660">
                  <c:v>3.7296507079055408E-3</c:v>
                </c:pt>
                <c:pt idx="661">
                  <c:v>2.9908659880385824E-2</c:v>
                </c:pt>
                <c:pt idx="662">
                  <c:v>8.011528466876916E-2</c:v>
                </c:pt>
                <c:pt idx="663">
                  <c:v>8.1113911248599679E-2</c:v>
                </c:pt>
                <c:pt idx="664">
                  <c:v>6.4616899554482132E-2</c:v>
                </c:pt>
                <c:pt idx="665">
                  <c:v>6.0399938089625294E-2</c:v>
                </c:pt>
                <c:pt idx="666">
                  <c:v>7.390548196255764E-2</c:v>
                </c:pt>
                <c:pt idx="667">
                  <c:v>5.3326102128647523E-2</c:v>
                </c:pt>
                <c:pt idx="668">
                  <c:v>4.8314014890941115E-3</c:v>
                </c:pt>
                <c:pt idx="669">
                  <c:v>4.7076977306444334E-2</c:v>
                </c:pt>
                <c:pt idx="670">
                  <c:v>4.7019484454112415E-2</c:v>
                </c:pt>
                <c:pt idx="671">
                  <c:v>5.2267987136776384E-2</c:v>
                </c:pt>
                <c:pt idx="672">
                  <c:v>6.6911082047152348E-2</c:v>
                </c:pt>
                <c:pt idx="673">
                  <c:v>3.9450534172755236E-2</c:v>
                </c:pt>
                <c:pt idx="674">
                  <c:v>2.3933369138867344E-2</c:v>
                </c:pt>
                <c:pt idx="675">
                  <c:v>1.9440496014960895E-2</c:v>
                </c:pt>
                <c:pt idx="676">
                  <c:v>2.2837995026259161E-2</c:v>
                </c:pt>
                <c:pt idx="677">
                  <c:v>2.2059814024472213E-2</c:v>
                </c:pt>
                <c:pt idx="678">
                  <c:v>2.8504800802954477E-2</c:v>
                </c:pt>
                <c:pt idx="679">
                  <c:v>2.9565470538948202E-2</c:v>
                </c:pt>
                <c:pt idx="680">
                  <c:v>2.6195637266476779E-2</c:v>
                </c:pt>
                <c:pt idx="681">
                  <c:v>2.0128275929274353E-2</c:v>
                </c:pt>
                <c:pt idx="682">
                  <c:v>2.4766036129019064E-2</c:v>
                </c:pt>
                <c:pt idx="683">
                  <c:v>2.3328365018365105E-2</c:v>
                </c:pt>
                <c:pt idx="684">
                  <c:v>1.6992456189354632E-2</c:v>
                </c:pt>
                <c:pt idx="685">
                  <c:v>3.3173001270622615E-2</c:v>
                </c:pt>
                <c:pt idx="686">
                  <c:v>3.9428705010734588E-2</c:v>
                </c:pt>
                <c:pt idx="687">
                  <c:v>4.0629933658467565E-2</c:v>
                </c:pt>
                <c:pt idx="688">
                  <c:v>4.3795177407835229E-2</c:v>
                </c:pt>
                <c:pt idx="689">
                  <c:v>4.4801949728295321E-2</c:v>
                </c:pt>
                <c:pt idx="690">
                  <c:v>4.5085348879349119E-2</c:v>
                </c:pt>
                <c:pt idx="691">
                  <c:v>5.4500123294021652E-2</c:v>
                </c:pt>
                <c:pt idx="692">
                  <c:v>4.8388979506955199E-2</c:v>
                </c:pt>
                <c:pt idx="693">
                  <c:v>4.7152477249787439E-2</c:v>
                </c:pt>
                <c:pt idx="694">
                  <c:v>4.7684851635032888E-2</c:v>
                </c:pt>
                <c:pt idx="695">
                  <c:v>4.7668195847578643E-2</c:v>
                </c:pt>
                <c:pt idx="696">
                  <c:v>4.8789105936522525E-2</c:v>
                </c:pt>
                <c:pt idx="697">
                  <c:v>5.0646469309500897E-2</c:v>
                </c:pt>
                <c:pt idx="698">
                  <c:v>5.2429350174461375E-2</c:v>
                </c:pt>
                <c:pt idx="699">
                  <c:v>5.2526146157823028E-2</c:v>
                </c:pt>
                <c:pt idx="700">
                  <c:v>5.3732485241505867E-2</c:v>
                </c:pt>
                <c:pt idx="701">
                  <c:v>4.7568555261894296E-2</c:v>
                </c:pt>
                <c:pt idx="702">
                  <c:v>4.7945213725566038E-2</c:v>
                </c:pt>
                <c:pt idx="703">
                  <c:v>4.3094981742048399E-2</c:v>
                </c:pt>
                <c:pt idx="704">
                  <c:v>4.6309104928342837E-2</c:v>
                </c:pt>
                <c:pt idx="705">
                  <c:v>4.8232179221038396E-2</c:v>
                </c:pt>
                <c:pt idx="706">
                  <c:v>4.5973361497350207E-2</c:v>
                </c:pt>
                <c:pt idx="707">
                  <c:v>3.4075142941915826E-2</c:v>
                </c:pt>
                <c:pt idx="708">
                  <c:v>2.4497890708175651E-2</c:v>
                </c:pt>
                <c:pt idx="709">
                  <c:v>1.1792825043465016E-2</c:v>
                </c:pt>
                <c:pt idx="710">
                  <c:v>1.3432267793589636E-2</c:v>
                </c:pt>
                <c:pt idx="711">
                  <c:v>2.2570826777890685E-2</c:v>
                </c:pt>
                <c:pt idx="712">
                  <c:v>2.0094177848485217E-2</c:v>
                </c:pt>
                <c:pt idx="713">
                  <c:v>2.3659328623407472E-2</c:v>
                </c:pt>
                <c:pt idx="714">
                  <c:v>2.6650579831103416E-2</c:v>
                </c:pt>
                <c:pt idx="715">
                  <c:v>6.1383746545028428E-3</c:v>
                </c:pt>
                <c:pt idx="716">
                  <c:v>1.038055944567895E-2</c:v>
                </c:pt>
                <c:pt idx="717">
                  <c:v>1.018768822710292E-2</c:v>
                </c:pt>
                <c:pt idx="718">
                  <c:v>1.1082942401621665E-2</c:v>
                </c:pt>
                <c:pt idx="719">
                  <c:v>1.142222893895517E-2</c:v>
                </c:pt>
                <c:pt idx="720">
                  <c:v>1.3556095247134192E-2</c:v>
                </c:pt>
                <c:pt idx="721">
                  <c:v>8.8789597156164746E-3</c:v>
                </c:pt>
                <c:pt idx="722">
                  <c:v>1.1983830329535095E-2</c:v>
                </c:pt>
                <c:pt idx="723">
                  <c:v>1.0768737488399238E-2</c:v>
                </c:pt>
                <c:pt idx="724">
                  <c:v>1.37101063969296E-2</c:v>
                </c:pt>
                <c:pt idx="725">
                  <c:v>6.8358502662593246E-3</c:v>
                </c:pt>
                <c:pt idx="726">
                  <c:v>-5.3235873758044061E-3</c:v>
                </c:pt>
                <c:pt idx="727">
                  <c:v>-1.5642929144558115E-2</c:v>
                </c:pt>
                <c:pt idx="728">
                  <c:v>-1.6472719860000984E-2</c:v>
                </c:pt>
                <c:pt idx="729">
                  <c:v>-2.8082240733585673E-2</c:v>
                </c:pt>
                <c:pt idx="730">
                  <c:v>-4.5290244373148325E-2</c:v>
                </c:pt>
                <c:pt idx="731">
                  <c:v>-4.4815206335666935E-2</c:v>
                </c:pt>
                <c:pt idx="732">
                  <c:v>-5.5586588719534924E-2</c:v>
                </c:pt>
                <c:pt idx="733">
                  <c:v>-5.6340403980994935E-2</c:v>
                </c:pt>
                <c:pt idx="734">
                  <c:v>-5.271656860500995E-2</c:v>
                </c:pt>
                <c:pt idx="735">
                  <c:v>-5.8375506797649357E-2</c:v>
                </c:pt>
                <c:pt idx="736">
                  <c:v>-5.8418557160839546E-2</c:v>
                </c:pt>
                <c:pt idx="737">
                  <c:v>-5.4568196731602514E-2</c:v>
                </c:pt>
                <c:pt idx="738">
                  <c:v>-5.6363257846706039E-2</c:v>
                </c:pt>
                <c:pt idx="739">
                  <c:v>-3.5607386104514194E-2</c:v>
                </c:pt>
                <c:pt idx="740">
                  <c:v>-3.7145276579528375E-2</c:v>
                </c:pt>
                <c:pt idx="741">
                  <c:v>-3.8197099205612095E-2</c:v>
                </c:pt>
                <c:pt idx="742">
                  <c:v>-3.5962551895432737E-2</c:v>
                </c:pt>
                <c:pt idx="743">
                  <c:v>-3.8368760279126612E-2</c:v>
                </c:pt>
                <c:pt idx="744">
                  <c:v>-5.1845162985130422E-2</c:v>
                </c:pt>
                <c:pt idx="745">
                  <c:v>-3.8353341553125975E-2</c:v>
                </c:pt>
                <c:pt idx="746">
                  <c:v>-4.2606909206151622E-2</c:v>
                </c:pt>
                <c:pt idx="747">
                  <c:v>-3.2936468004562847E-2</c:v>
                </c:pt>
                <c:pt idx="748">
                  <c:v>-3.5094475941387593E-2</c:v>
                </c:pt>
                <c:pt idx="749">
                  <c:v>-3.9989888344413083E-2</c:v>
                </c:pt>
                <c:pt idx="750">
                  <c:v>-4.605141888236608E-2</c:v>
                </c:pt>
                <c:pt idx="751">
                  <c:v>-4.7886538819385982E-2</c:v>
                </c:pt>
                <c:pt idx="752">
                  <c:v>-3.9892852338013651E-2</c:v>
                </c:pt>
                <c:pt idx="753">
                  <c:v>-4.2006001545793259E-2</c:v>
                </c:pt>
                <c:pt idx="754">
                  <c:v>-4.8650196348263508E-2</c:v>
                </c:pt>
                <c:pt idx="755">
                  <c:v>-4.4910826977385798E-2</c:v>
                </c:pt>
                <c:pt idx="756">
                  <c:v>-3.466991629476035E-2</c:v>
                </c:pt>
                <c:pt idx="757">
                  <c:v>-2.8043739541810497E-2</c:v>
                </c:pt>
                <c:pt idx="758">
                  <c:v>-2.3469943546842065E-2</c:v>
                </c:pt>
                <c:pt idx="759">
                  <c:v>-2.4273350805054217E-2</c:v>
                </c:pt>
                <c:pt idx="760">
                  <c:v>-1.5796596329179735E-2</c:v>
                </c:pt>
                <c:pt idx="761">
                  <c:v>-1.5919861467496799E-2</c:v>
                </c:pt>
                <c:pt idx="762">
                  <c:v>-1.1960685123476589E-2</c:v>
                </c:pt>
                <c:pt idx="763">
                  <c:v>-1.029849825527962E-2</c:v>
                </c:pt>
                <c:pt idx="764">
                  <c:v>-2.1359035422263584E-2</c:v>
                </c:pt>
                <c:pt idx="765">
                  <c:v>-2.0267178193584146E-2</c:v>
                </c:pt>
                <c:pt idx="766">
                  <c:v>-2.0116389558236802E-2</c:v>
                </c:pt>
                <c:pt idx="767">
                  <c:v>-2.6103393868297631E-2</c:v>
                </c:pt>
                <c:pt idx="768">
                  <c:v>-2.0834475274131958E-2</c:v>
                </c:pt>
                <c:pt idx="769">
                  <c:v>-2.6073112761902384E-2</c:v>
                </c:pt>
                <c:pt idx="770">
                  <c:v>-2.4325429597714554E-2</c:v>
                </c:pt>
                <c:pt idx="771">
                  <c:v>-2.2408963743004828E-2</c:v>
                </c:pt>
                <c:pt idx="772">
                  <c:v>-3.0692574825618824E-2</c:v>
                </c:pt>
                <c:pt idx="773">
                  <c:v>-2.424768557084811E-2</c:v>
                </c:pt>
                <c:pt idx="774">
                  <c:v>-1.0026371867638328E-2</c:v>
                </c:pt>
                <c:pt idx="775">
                  <c:v>-2.7401969657887548E-3</c:v>
                </c:pt>
                <c:pt idx="776">
                  <c:v>-6.9592270589340366E-3</c:v>
                </c:pt>
                <c:pt idx="777">
                  <c:v>-2.7817936452140812E-2</c:v>
                </c:pt>
                <c:pt idx="778">
                  <c:v>-2.4405719544286719E-2</c:v>
                </c:pt>
                <c:pt idx="779">
                  <c:v>-2.1318766136229961E-2</c:v>
                </c:pt>
                <c:pt idx="780">
                  <c:v>-2.5571003683064975E-2</c:v>
                </c:pt>
                <c:pt idx="781">
                  <c:v>-2.1158142395795942E-2</c:v>
                </c:pt>
                <c:pt idx="782">
                  <c:v>-1.5879791424143308E-2</c:v>
                </c:pt>
                <c:pt idx="783">
                  <c:v>-2.2086084646224857E-2</c:v>
                </c:pt>
                <c:pt idx="784">
                  <c:v>-1.7022406998324913E-2</c:v>
                </c:pt>
                <c:pt idx="785">
                  <c:v>-2.1674001789216302E-2</c:v>
                </c:pt>
                <c:pt idx="786">
                  <c:v>-2.64612668134101E-2</c:v>
                </c:pt>
                <c:pt idx="787">
                  <c:v>-2.9861308246860063E-2</c:v>
                </c:pt>
                <c:pt idx="788">
                  <c:v>-2.0375318277487953E-2</c:v>
                </c:pt>
                <c:pt idx="789">
                  <c:v>-1.7650825501914436E-2</c:v>
                </c:pt>
                <c:pt idx="790">
                  <c:v>-1.9311253143174389E-2</c:v>
                </c:pt>
                <c:pt idx="791">
                  <c:v>-1.4324483067862492E-2</c:v>
                </c:pt>
                <c:pt idx="792">
                  <c:v>-1.1596530185671083E-2</c:v>
                </c:pt>
                <c:pt idx="793">
                  <c:v>-1.474703439104319E-2</c:v>
                </c:pt>
                <c:pt idx="794">
                  <c:v>-8.4137401412673896E-3</c:v>
                </c:pt>
                <c:pt idx="795">
                  <c:v>-6.8529652044569955E-3</c:v>
                </c:pt>
                <c:pt idx="796">
                  <c:v>-7.5009322213804852E-3</c:v>
                </c:pt>
                <c:pt idx="797">
                  <c:v>1.7931410989031615E-3</c:v>
                </c:pt>
                <c:pt idx="798">
                  <c:v>6.251478336059435E-3</c:v>
                </c:pt>
                <c:pt idx="799">
                  <c:v>5.6232764080262898E-3</c:v>
                </c:pt>
                <c:pt idx="800">
                  <c:v>5.0088762992140934E-3</c:v>
                </c:pt>
                <c:pt idx="801">
                  <c:v>1.1412563145432042E-3</c:v>
                </c:pt>
                <c:pt idx="802">
                  <c:v>8.7116241684728202E-3</c:v>
                </c:pt>
                <c:pt idx="803">
                  <c:v>3.5474005864416513E-3</c:v>
                </c:pt>
                <c:pt idx="804">
                  <c:v>4.3970514682735162E-3</c:v>
                </c:pt>
                <c:pt idx="805">
                  <c:v>3.5332684871640652E-3</c:v>
                </c:pt>
                <c:pt idx="806">
                  <c:v>9.2978748743322015E-3</c:v>
                </c:pt>
                <c:pt idx="807">
                  <c:v>2.3003371102608972E-2</c:v>
                </c:pt>
                <c:pt idx="808">
                  <c:v>2.0844483233590227E-2</c:v>
                </c:pt>
                <c:pt idx="809">
                  <c:v>1.1432374843170501E-2</c:v>
                </c:pt>
                <c:pt idx="810">
                  <c:v>1.7648604981297167E-2</c:v>
                </c:pt>
                <c:pt idx="811">
                  <c:v>1.7607562205728344E-2</c:v>
                </c:pt>
                <c:pt idx="812">
                  <c:v>7.5000598415683184E-3</c:v>
                </c:pt>
                <c:pt idx="813">
                  <c:v>1.600135119739321E-2</c:v>
                </c:pt>
                <c:pt idx="814">
                  <c:v>7.7333525051984653E-3</c:v>
                </c:pt>
                <c:pt idx="815">
                  <c:v>3.7797803567496402E-5</c:v>
                </c:pt>
                <c:pt idx="816">
                  <c:v>7.0493268488854843E-3</c:v>
                </c:pt>
                <c:pt idx="817">
                  <c:v>9.1655096377899481E-3</c:v>
                </c:pt>
                <c:pt idx="818">
                  <c:v>-2.0597659133388957E-3</c:v>
                </c:pt>
                <c:pt idx="819">
                  <c:v>-1.7353426944859418E-3</c:v>
                </c:pt>
                <c:pt idx="820">
                  <c:v>-5.8185872207616729E-4</c:v>
                </c:pt>
                <c:pt idx="821">
                  <c:v>1.8611940018928852E-3</c:v>
                </c:pt>
                <c:pt idx="822">
                  <c:v>3.516200782942791E-3</c:v>
                </c:pt>
                <c:pt idx="823">
                  <c:v>4.9687817926599154E-3</c:v>
                </c:pt>
                <c:pt idx="824">
                  <c:v>1.3383580611568635E-2</c:v>
                </c:pt>
                <c:pt idx="825">
                  <c:v>1.1511798279510765E-2</c:v>
                </c:pt>
                <c:pt idx="826">
                  <c:v>2.2587049264299885E-3</c:v>
                </c:pt>
                <c:pt idx="827">
                  <c:v>6.434606320916525E-3</c:v>
                </c:pt>
                <c:pt idx="828">
                  <c:v>-3.5785011821267698E-3</c:v>
                </c:pt>
                <c:pt idx="829">
                  <c:v>-4.6122008481320753E-3</c:v>
                </c:pt>
                <c:pt idx="830">
                  <c:v>-7.0720122118316242E-3</c:v>
                </c:pt>
                <c:pt idx="831">
                  <c:v>-5.3850527123125991E-3</c:v>
                </c:pt>
                <c:pt idx="832">
                  <c:v>-1.051221132984359E-2</c:v>
                </c:pt>
                <c:pt idx="833">
                  <c:v>-7.0838471051924978E-3</c:v>
                </c:pt>
                <c:pt idx="834">
                  <c:v>-1.5200489753181112E-2</c:v>
                </c:pt>
                <c:pt idx="835">
                  <c:v>-1.6987652877776815E-2</c:v>
                </c:pt>
                <c:pt idx="836">
                  <c:v>-1.5632481230115403E-2</c:v>
                </c:pt>
                <c:pt idx="837">
                  <c:v>-1.7085043261071742E-2</c:v>
                </c:pt>
                <c:pt idx="838">
                  <c:v>-1.6734026204474062E-2</c:v>
                </c:pt>
                <c:pt idx="839">
                  <c:v>-7.5059562357774334E-3</c:v>
                </c:pt>
                <c:pt idx="840">
                  <c:v>-1.0072842394451165E-2</c:v>
                </c:pt>
                <c:pt idx="841">
                  <c:v>-9.8614955562925655E-3</c:v>
                </c:pt>
                <c:pt idx="842">
                  <c:v>-4.8512825081270528E-3</c:v>
                </c:pt>
                <c:pt idx="843">
                  <c:v>-5.1040147423289106E-3</c:v>
                </c:pt>
                <c:pt idx="844">
                  <c:v>-9.180208209726981E-4</c:v>
                </c:pt>
                <c:pt idx="845">
                  <c:v>6.7762537266125022E-3</c:v>
                </c:pt>
                <c:pt idx="846">
                  <c:v>1.1348227164016733E-2</c:v>
                </c:pt>
                <c:pt idx="847">
                  <c:v>1.0399344063485194E-2</c:v>
                </c:pt>
                <c:pt idx="848">
                  <c:v>8.2080089227825059E-3</c:v>
                </c:pt>
                <c:pt idx="849">
                  <c:v>1.1922184819724291E-2</c:v>
                </c:pt>
                <c:pt idx="850">
                  <c:v>-9.7441762238137386E-5</c:v>
                </c:pt>
                <c:pt idx="851">
                  <c:v>-3.2541574766888903E-3</c:v>
                </c:pt>
                <c:pt idx="852">
                  <c:v>-8.373402598723545E-3</c:v>
                </c:pt>
                <c:pt idx="853">
                  <c:v>-9.3932800746896472E-3</c:v>
                </c:pt>
                <c:pt idx="854">
                  <c:v>-1.6865102933835474E-2</c:v>
                </c:pt>
                <c:pt idx="855">
                  <c:v>-1.4161769788150091E-2</c:v>
                </c:pt>
                <c:pt idx="856">
                  <c:v>-6.1861334840928039E-3</c:v>
                </c:pt>
                <c:pt idx="857">
                  <c:v>-5.8283655164691472E-3</c:v>
                </c:pt>
                <c:pt idx="858">
                  <c:v>-5.5081476043875588E-3</c:v>
                </c:pt>
                <c:pt idx="859">
                  <c:v>-1.0189080926936711E-3</c:v>
                </c:pt>
                <c:pt idx="860">
                  <c:v>-2.8962743605953634E-4</c:v>
                </c:pt>
                <c:pt idx="861">
                  <c:v>-9.891292709859556E-3</c:v>
                </c:pt>
                <c:pt idx="862">
                  <c:v>-6.6885003200795046E-3</c:v>
                </c:pt>
                <c:pt idx="863">
                  <c:v>-1.6907127317217885E-2</c:v>
                </c:pt>
                <c:pt idx="864">
                  <c:v>-4.8153521058516002E-3</c:v>
                </c:pt>
                <c:pt idx="865">
                  <c:v>-3.0060373776606975E-3</c:v>
                </c:pt>
                <c:pt idx="866">
                  <c:v>-6.5297032261941723E-3</c:v>
                </c:pt>
                <c:pt idx="867">
                  <c:v>-1.6415143904790819E-2</c:v>
                </c:pt>
                <c:pt idx="868">
                  <c:v>-1.3844923542964405E-2</c:v>
                </c:pt>
                <c:pt idx="869">
                  <c:v>-1.3070778095768731E-2</c:v>
                </c:pt>
                <c:pt idx="870">
                  <c:v>-8.8301737968023986E-3</c:v>
                </c:pt>
                <c:pt idx="871">
                  <c:v>-1.6757337025502861E-2</c:v>
                </c:pt>
                <c:pt idx="872">
                  <c:v>-9.5634452488385646E-3</c:v>
                </c:pt>
                <c:pt idx="873">
                  <c:v>-9.9141997097592638E-3</c:v>
                </c:pt>
                <c:pt idx="874">
                  <c:v>-5.282772497421151E-3</c:v>
                </c:pt>
                <c:pt idx="875">
                  <c:v>-5.8828971221835946E-3</c:v>
                </c:pt>
                <c:pt idx="876">
                  <c:v>-7.0974701652875005E-3</c:v>
                </c:pt>
                <c:pt idx="877">
                  <c:v>-1.0337260015140792E-2</c:v>
                </c:pt>
                <c:pt idx="878">
                  <c:v>-4.073021354727091E-3</c:v>
                </c:pt>
                <c:pt idx="879">
                  <c:v>-3.0235583701339053E-3</c:v>
                </c:pt>
                <c:pt idx="880">
                  <c:v>1.3424526128744674E-3</c:v>
                </c:pt>
                <c:pt idx="881">
                  <c:v>4.1170723583422442E-3</c:v>
                </c:pt>
                <c:pt idx="882">
                  <c:v>8.3067821210045523E-3</c:v>
                </c:pt>
                <c:pt idx="883">
                  <c:v>3.1357298509958609E-3</c:v>
                </c:pt>
                <c:pt idx="884">
                  <c:v>3.0876562427636367E-3</c:v>
                </c:pt>
                <c:pt idx="885">
                  <c:v>5.3351828602982154E-3</c:v>
                </c:pt>
                <c:pt idx="886">
                  <c:v>1.3148436191366408E-2</c:v>
                </c:pt>
                <c:pt idx="887">
                  <c:v>1.2798832304276586E-2</c:v>
                </c:pt>
                <c:pt idx="888">
                  <c:v>2.0767117066537111E-2</c:v>
                </c:pt>
                <c:pt idx="889">
                  <c:v>1.6563050571186233E-2</c:v>
                </c:pt>
                <c:pt idx="890">
                  <c:v>2.5210777512783E-2</c:v>
                </c:pt>
                <c:pt idx="891">
                  <c:v>4.2513236133093879E-2</c:v>
                </c:pt>
                <c:pt idx="892">
                  <c:v>4.1171800101643563E-2</c:v>
                </c:pt>
                <c:pt idx="893">
                  <c:v>3.9927941473542283E-2</c:v>
                </c:pt>
                <c:pt idx="894">
                  <c:v>3.6619143321658054E-2</c:v>
                </c:pt>
                <c:pt idx="895">
                  <c:v>3.8801353169929387E-2</c:v>
                </c:pt>
                <c:pt idx="896">
                  <c:v>3.9702282600892147E-2</c:v>
                </c:pt>
                <c:pt idx="897">
                  <c:v>4.4009084800410436E-2</c:v>
                </c:pt>
                <c:pt idx="898">
                  <c:v>3.8807083192864744E-2</c:v>
                </c:pt>
                <c:pt idx="899">
                  <c:v>3.6568655813842499E-2</c:v>
                </c:pt>
                <c:pt idx="900">
                  <c:v>3.8544561131075961E-2</c:v>
                </c:pt>
                <c:pt idx="901">
                  <c:v>3.8918441777642476E-2</c:v>
                </c:pt>
                <c:pt idx="902">
                  <c:v>3.2563703613913586E-2</c:v>
                </c:pt>
                <c:pt idx="903">
                  <c:v>1.7629595035053791E-2</c:v>
                </c:pt>
                <c:pt idx="904">
                  <c:v>3.9573896168686451E-3</c:v>
                </c:pt>
                <c:pt idx="905">
                  <c:v>1.2272519600762144E-2</c:v>
                </c:pt>
                <c:pt idx="906">
                  <c:v>9.9417443637872527E-3</c:v>
                </c:pt>
                <c:pt idx="907">
                  <c:v>1.4634672025977902E-2</c:v>
                </c:pt>
                <c:pt idx="908">
                  <c:v>3.4494106424147741E-3</c:v>
                </c:pt>
                <c:pt idx="909">
                  <c:v>5.8658242418726525E-3</c:v>
                </c:pt>
                <c:pt idx="910">
                  <c:v>1.102057321283445E-2</c:v>
                </c:pt>
                <c:pt idx="911">
                  <c:v>1.4666495868837948E-2</c:v>
                </c:pt>
                <c:pt idx="912">
                  <c:v>1.5746559554802864E-2</c:v>
                </c:pt>
                <c:pt idx="913">
                  <c:v>2.0597773175536904E-2</c:v>
                </c:pt>
                <c:pt idx="914">
                  <c:v>2.0242691729690065E-2</c:v>
                </c:pt>
                <c:pt idx="915">
                  <c:v>1.5752141314590795E-2</c:v>
                </c:pt>
                <c:pt idx="916">
                  <c:v>1.5152160106347123E-2</c:v>
                </c:pt>
                <c:pt idx="917">
                  <c:v>1.4395978029183132E-2</c:v>
                </c:pt>
                <c:pt idx="918">
                  <c:v>1.9808215835604659E-2</c:v>
                </c:pt>
                <c:pt idx="919">
                  <c:v>2.0296003215117042E-2</c:v>
                </c:pt>
                <c:pt idx="920">
                  <c:v>1.3113637763720876E-2</c:v>
                </c:pt>
                <c:pt idx="921">
                  <c:v>2.9643177813363231E-3</c:v>
                </c:pt>
                <c:pt idx="922">
                  <c:v>3.4615461821726479E-3</c:v>
                </c:pt>
                <c:pt idx="923">
                  <c:v>1.1608660965464757E-2</c:v>
                </c:pt>
                <c:pt idx="924">
                  <c:v>1.4256956434156809E-2</c:v>
                </c:pt>
                <c:pt idx="925">
                  <c:v>1.2462599177277878E-2</c:v>
                </c:pt>
                <c:pt idx="926">
                  <c:v>5.2826836968457025E-3</c:v>
                </c:pt>
                <c:pt idx="927">
                  <c:v>4.5389669253591558E-3</c:v>
                </c:pt>
                <c:pt idx="928">
                  <c:v>1.0652548709195853E-2</c:v>
                </c:pt>
                <c:pt idx="929">
                  <c:v>8.4539336020683642E-3</c:v>
                </c:pt>
                <c:pt idx="930">
                  <c:v>-6.6237714754746602E-4</c:v>
                </c:pt>
                <c:pt idx="931">
                  <c:v>1.4713804388888363E-3</c:v>
                </c:pt>
                <c:pt idx="932">
                  <c:v>1.5541119614245424E-2</c:v>
                </c:pt>
                <c:pt idx="933">
                  <c:v>2.3187938410738185E-2</c:v>
                </c:pt>
                <c:pt idx="934">
                  <c:v>3.5702731926456788E-2</c:v>
                </c:pt>
                <c:pt idx="935">
                  <c:v>2.7474308268041647E-2</c:v>
                </c:pt>
                <c:pt idx="936">
                  <c:v>3.1030720049564864E-2</c:v>
                </c:pt>
                <c:pt idx="937">
                  <c:v>2.9008347495491971E-2</c:v>
                </c:pt>
                <c:pt idx="938">
                  <c:v>3.7878193516985181E-2</c:v>
                </c:pt>
                <c:pt idx="939">
                  <c:v>3.6844422611997163E-2</c:v>
                </c:pt>
                <c:pt idx="940">
                  <c:v>4.473608722244149E-2</c:v>
                </c:pt>
                <c:pt idx="941">
                  <c:v>3.9877953036701164E-2</c:v>
                </c:pt>
                <c:pt idx="942">
                  <c:v>3.493752209828227E-2</c:v>
                </c:pt>
                <c:pt idx="943">
                  <c:v>2.5335705213797133E-2</c:v>
                </c:pt>
                <c:pt idx="944">
                  <c:v>1.6083029409117988E-2</c:v>
                </c:pt>
                <c:pt idx="945">
                  <c:v>1.040510954029672E-2</c:v>
                </c:pt>
                <c:pt idx="946">
                  <c:v>7.1343793462982363E-3</c:v>
                </c:pt>
                <c:pt idx="947">
                  <c:v>1.3250449234059603E-2</c:v>
                </c:pt>
                <c:pt idx="948">
                  <c:v>3.5515375407479954E-3</c:v>
                </c:pt>
                <c:pt idx="949">
                  <c:v>7.9008314314005235E-3</c:v>
                </c:pt>
                <c:pt idx="950">
                  <c:v>1.2436521372001574E-2</c:v>
                </c:pt>
                <c:pt idx="951">
                  <c:v>1.2617438803443015E-2</c:v>
                </c:pt>
                <c:pt idx="952">
                  <c:v>1.5965373559954532E-2</c:v>
                </c:pt>
                <c:pt idx="953">
                  <c:v>1.3869016787217414E-2</c:v>
                </c:pt>
                <c:pt idx="954">
                  <c:v>9.4684302496615969E-3</c:v>
                </c:pt>
                <c:pt idx="955">
                  <c:v>-2.1162997378543214E-4</c:v>
                </c:pt>
                <c:pt idx="956">
                  <c:v>5.109039172655705E-3</c:v>
                </c:pt>
                <c:pt idx="957">
                  <c:v>-2.0232140776408336E-3</c:v>
                </c:pt>
                <c:pt idx="958">
                  <c:v>2.3258849409065752E-3</c:v>
                </c:pt>
                <c:pt idx="959">
                  <c:v>8.6072574732717344E-3</c:v>
                </c:pt>
                <c:pt idx="960">
                  <c:v>1.3297250042342945E-2</c:v>
                </c:pt>
                <c:pt idx="961">
                  <c:v>5.6440166307720752E-3</c:v>
                </c:pt>
                <c:pt idx="962">
                  <c:v>4.5298167794636246E-3</c:v>
                </c:pt>
                <c:pt idx="963">
                  <c:v>8.0390010079084417E-3</c:v>
                </c:pt>
                <c:pt idx="964">
                  <c:v>3.8198870371399796E-3</c:v>
                </c:pt>
                <c:pt idx="965">
                  <c:v>2.589799928832015E-3</c:v>
                </c:pt>
                <c:pt idx="966">
                  <c:v>2.9643879124070516E-3</c:v>
                </c:pt>
                <c:pt idx="967">
                  <c:v>-9.5848444220769657E-4</c:v>
                </c:pt>
                <c:pt idx="968">
                  <c:v>-4.6492146198078288E-3</c:v>
                </c:pt>
                <c:pt idx="969">
                  <c:v>-6.0082671147985156E-3</c:v>
                </c:pt>
                <c:pt idx="970">
                  <c:v>-6.2019304679308274E-3</c:v>
                </c:pt>
                <c:pt idx="971">
                  <c:v>-1.3091572028962495E-2</c:v>
                </c:pt>
                <c:pt idx="972">
                  <c:v>-1.4155398732297431E-2</c:v>
                </c:pt>
                <c:pt idx="973">
                  <c:v>-1.5204410905904298E-2</c:v>
                </c:pt>
                <c:pt idx="974">
                  <c:v>-9.6217984201774076E-3</c:v>
                </c:pt>
                <c:pt idx="975">
                  <c:v>-8.5292580872055046E-3</c:v>
                </c:pt>
                <c:pt idx="976">
                  <c:v>-1.0582159238065381E-2</c:v>
                </c:pt>
                <c:pt idx="977">
                  <c:v>-1.7102624170491576E-2</c:v>
                </c:pt>
                <c:pt idx="978">
                  <c:v>-1.6556815082572007E-2</c:v>
                </c:pt>
                <c:pt idx="979">
                  <c:v>-2.2655521921265631E-2</c:v>
                </c:pt>
                <c:pt idx="980">
                  <c:v>-1.6509200389459799E-2</c:v>
                </c:pt>
                <c:pt idx="981">
                  <c:v>-1.7545262411211238E-2</c:v>
                </c:pt>
                <c:pt idx="982">
                  <c:v>-1.826870124310298E-2</c:v>
                </c:pt>
                <c:pt idx="983">
                  <c:v>-1.1744798229150644E-2</c:v>
                </c:pt>
                <c:pt idx="984">
                  <c:v>-4.4351060633387451E-3</c:v>
                </c:pt>
                <c:pt idx="985">
                  <c:v>8.1351836464091942E-3</c:v>
                </c:pt>
                <c:pt idx="986">
                  <c:v>1.2689258614134724E-2</c:v>
                </c:pt>
                <c:pt idx="987">
                  <c:v>1.3584526385732709E-2</c:v>
                </c:pt>
                <c:pt idx="988">
                  <c:v>1.4403102461903461E-2</c:v>
                </c:pt>
                <c:pt idx="989">
                  <c:v>1.371533181283302E-2</c:v>
                </c:pt>
                <c:pt idx="990">
                  <c:v>1.7315351657675171E-2</c:v>
                </c:pt>
                <c:pt idx="991">
                  <c:v>2.2919410758638237E-2</c:v>
                </c:pt>
                <c:pt idx="992">
                  <c:v>2.3141940048854837E-2</c:v>
                </c:pt>
                <c:pt idx="993">
                  <c:v>2.3961466699613521E-2</c:v>
                </c:pt>
                <c:pt idx="994">
                  <c:v>2.4601535732709956E-2</c:v>
                </c:pt>
                <c:pt idx="995">
                  <c:v>2.7347440228473241E-2</c:v>
                </c:pt>
                <c:pt idx="996">
                  <c:v>3.0482607438213738E-2</c:v>
                </c:pt>
                <c:pt idx="997">
                  <c:v>2.8146364860337059E-2</c:v>
                </c:pt>
                <c:pt idx="998">
                  <c:v>3.8411723323006797E-2</c:v>
                </c:pt>
                <c:pt idx="999">
                  <c:v>3.7700740581608216E-2</c:v>
                </c:pt>
                <c:pt idx="1000">
                  <c:v>3.1531441163773155E-2</c:v>
                </c:pt>
                <c:pt idx="1001">
                  <c:v>4.2620949138624242E-2</c:v>
                </c:pt>
                <c:pt idx="1002">
                  <c:v>3.582734547390698E-2</c:v>
                </c:pt>
                <c:pt idx="1003">
                  <c:v>3.4869762444965979E-2</c:v>
                </c:pt>
                <c:pt idx="1004">
                  <c:v>2.7563429386428528E-2</c:v>
                </c:pt>
                <c:pt idx="1005">
                  <c:v>3.2750782798610212E-2</c:v>
                </c:pt>
                <c:pt idx="1006">
                  <c:v>3.112453054748987E-2</c:v>
                </c:pt>
                <c:pt idx="1007">
                  <c:v>3.6388143229373338E-2</c:v>
                </c:pt>
                <c:pt idx="1008">
                  <c:v>4.2249607760409758E-2</c:v>
                </c:pt>
                <c:pt idx="1009">
                  <c:v>4.3804328279373972E-2</c:v>
                </c:pt>
                <c:pt idx="1010">
                  <c:v>3.6774928136007912E-2</c:v>
                </c:pt>
                <c:pt idx="1011">
                  <c:v>4.0446139405035164E-2</c:v>
                </c:pt>
                <c:pt idx="1012">
                  <c:v>4.0686265230823415E-2</c:v>
                </c:pt>
                <c:pt idx="1013">
                  <c:v>3.2609386710210964E-2</c:v>
                </c:pt>
                <c:pt idx="1014">
                  <c:v>3.163602154352918E-2</c:v>
                </c:pt>
                <c:pt idx="1015">
                  <c:v>3.1109585411806084E-2</c:v>
                </c:pt>
                <c:pt idx="1016">
                  <c:v>2.9197905987134565E-2</c:v>
                </c:pt>
                <c:pt idx="1017">
                  <c:v>3.7611848887079691E-2</c:v>
                </c:pt>
                <c:pt idx="1018">
                  <c:v>2.5879547649001688E-2</c:v>
                </c:pt>
                <c:pt idx="1019">
                  <c:v>2.2596143571890215E-2</c:v>
                </c:pt>
                <c:pt idx="1020">
                  <c:v>1.8885330865718308E-2</c:v>
                </c:pt>
                <c:pt idx="1021">
                  <c:v>1.9383511238660556E-2</c:v>
                </c:pt>
                <c:pt idx="1022">
                  <c:v>2.2308968916713523E-2</c:v>
                </c:pt>
                <c:pt idx="1023">
                  <c:v>1.1671243583691204E-2</c:v>
                </c:pt>
                <c:pt idx="1024">
                  <c:v>1.4295218951072108E-2</c:v>
                </c:pt>
                <c:pt idx="1025">
                  <c:v>1.7432173231763493E-2</c:v>
                </c:pt>
                <c:pt idx="1026">
                  <c:v>1.6037073919520584E-2</c:v>
                </c:pt>
                <c:pt idx="1027">
                  <c:v>7.3061763825816861E-3</c:v>
                </c:pt>
                <c:pt idx="1028">
                  <c:v>5.3425460506515421E-3</c:v>
                </c:pt>
                <c:pt idx="1029">
                  <c:v>3.4426247075315386E-3</c:v>
                </c:pt>
                <c:pt idx="1030">
                  <c:v>5.38024851301111E-3</c:v>
                </c:pt>
                <c:pt idx="1031">
                  <c:v>6.2121383428384025E-3</c:v>
                </c:pt>
                <c:pt idx="1032">
                  <c:v>1.6445614891015703E-2</c:v>
                </c:pt>
                <c:pt idx="1033">
                  <c:v>1.3505229775802041E-2</c:v>
                </c:pt>
                <c:pt idx="1034">
                  <c:v>2.1988722714415321E-2</c:v>
                </c:pt>
                <c:pt idx="1035">
                  <c:v>2.2789996423653536E-2</c:v>
                </c:pt>
                <c:pt idx="1036">
                  <c:v>2.2683554712976006E-2</c:v>
                </c:pt>
                <c:pt idx="1037">
                  <c:v>1.6125719766669877E-2</c:v>
                </c:pt>
                <c:pt idx="1038">
                  <c:v>7.4685502317198837E-3</c:v>
                </c:pt>
                <c:pt idx="1039">
                  <c:v>8.0848112536778816E-3</c:v>
                </c:pt>
                <c:pt idx="1040">
                  <c:v>6.3357241611572412E-3</c:v>
                </c:pt>
                <c:pt idx="1041">
                  <c:v>6.8713894629658379E-3</c:v>
                </c:pt>
                <c:pt idx="1042">
                  <c:v>5.339144976540644E-3</c:v>
                </c:pt>
                <c:pt idx="1043">
                  <c:v>-3.3224082435637792E-3</c:v>
                </c:pt>
                <c:pt idx="1044">
                  <c:v>2.3014064962252556E-2</c:v>
                </c:pt>
                <c:pt idx="1045">
                  <c:v>-4.1598793484133312E-2</c:v>
                </c:pt>
                <c:pt idx="1046">
                  <c:v>-3.6351258955357069E-2</c:v>
                </c:pt>
                <c:pt idx="1047">
                  <c:v>-2.3734201304643765E-3</c:v>
                </c:pt>
                <c:pt idx="1048">
                  <c:v>-3.2907852330546383E-2</c:v>
                </c:pt>
                <c:pt idx="1049">
                  <c:v>-4.5190027091176366E-2</c:v>
                </c:pt>
                <c:pt idx="1050">
                  <c:v>-8.3860881601728332E-2</c:v>
                </c:pt>
                <c:pt idx="1051">
                  <c:v>-9.5458968243042119E-2</c:v>
                </c:pt>
                <c:pt idx="1052">
                  <c:v>-8.2476658918133494E-2</c:v>
                </c:pt>
                <c:pt idx="1053">
                  <c:v>-3.8949477878287508E-2</c:v>
                </c:pt>
                <c:pt idx="1054">
                  <c:v>-7.7155934358225098E-2</c:v>
                </c:pt>
                <c:pt idx="1055">
                  <c:v>-8.778000450799972E-2</c:v>
                </c:pt>
                <c:pt idx="1056">
                  <c:v>-5.776019362244611E-2</c:v>
                </c:pt>
                <c:pt idx="1057">
                  <c:v>-5.4804921696332665E-2</c:v>
                </c:pt>
                <c:pt idx="1058">
                  <c:v>-5.9823364571250592E-2</c:v>
                </c:pt>
                <c:pt idx="1059">
                  <c:v>-6.8643205399509966E-2</c:v>
                </c:pt>
                <c:pt idx="1060">
                  <c:v>-5.1712179508003442E-2</c:v>
                </c:pt>
                <c:pt idx="1061">
                  <c:v>-5.1463471112697112E-3</c:v>
                </c:pt>
                <c:pt idx="1062">
                  <c:v>-2.3162707841545283E-3</c:v>
                </c:pt>
                <c:pt idx="1063">
                  <c:v>1.1105797700249109E-2</c:v>
                </c:pt>
                <c:pt idx="1064">
                  <c:v>-9.012712456045513E-3</c:v>
                </c:pt>
                <c:pt idx="1065">
                  <c:v>-1.243622683705925E-2</c:v>
                </c:pt>
                <c:pt idx="1066">
                  <c:v>-2.0046579669200648E-3</c:v>
                </c:pt>
                <c:pt idx="1067">
                  <c:v>1.0692200008883823E-3</c:v>
                </c:pt>
                <c:pt idx="1068">
                  <c:v>7.7967723609518869E-3</c:v>
                </c:pt>
                <c:pt idx="1069">
                  <c:v>-1.0244872287305529E-2</c:v>
                </c:pt>
                <c:pt idx="1070">
                  <c:v>-3.4041565715905109E-2</c:v>
                </c:pt>
                <c:pt idx="1071">
                  <c:v>-5.8609071481980579E-2</c:v>
                </c:pt>
                <c:pt idx="1072">
                  <c:v>-5.2916013152697006E-2</c:v>
                </c:pt>
                <c:pt idx="1073">
                  <c:v>-4.574888038090652E-2</c:v>
                </c:pt>
                <c:pt idx="1074">
                  <c:v>-3.4387919189560523E-2</c:v>
                </c:pt>
                <c:pt idx="1075">
                  <c:v>-1.7178773321274265E-2</c:v>
                </c:pt>
                <c:pt idx="1076">
                  <c:v>-1.0427709552560338E-2</c:v>
                </c:pt>
                <c:pt idx="1077">
                  <c:v>-3.6423104857971178E-2</c:v>
                </c:pt>
                <c:pt idx="1078">
                  <c:v>-5.5892469136817668E-2</c:v>
                </c:pt>
                <c:pt idx="1079">
                  <c:v>-3.017524136276406E-2</c:v>
                </c:pt>
                <c:pt idx="1080">
                  <c:v>-7.1842616859878472E-3</c:v>
                </c:pt>
                <c:pt idx="1081">
                  <c:v>-4.5670407374196476E-2</c:v>
                </c:pt>
                <c:pt idx="1082">
                  <c:v>-4.3230881461816861E-2</c:v>
                </c:pt>
                <c:pt idx="1083">
                  <c:v>-4.2567018026516079E-2</c:v>
                </c:pt>
                <c:pt idx="1084">
                  <c:v>-0.10493393309621435</c:v>
                </c:pt>
                <c:pt idx="1085">
                  <c:v>-3.6327145034552144E-2</c:v>
                </c:pt>
                <c:pt idx="1086">
                  <c:v>-2.1248967139358643E-2</c:v>
                </c:pt>
                <c:pt idx="1087">
                  <c:v>-3.267685832466205E-2</c:v>
                </c:pt>
                <c:pt idx="1088">
                  <c:v>-3.3232991544069446E-2</c:v>
                </c:pt>
                <c:pt idx="1089">
                  <c:v>-1.5325686543046002E-2</c:v>
                </c:pt>
                <c:pt idx="1090">
                  <c:v>1.6845934155434006E-2</c:v>
                </c:pt>
                <c:pt idx="1091">
                  <c:v>8.1743836333983966E-3</c:v>
                </c:pt>
                <c:pt idx="1092">
                  <c:v>2.2529731648303963E-2</c:v>
                </c:pt>
                <c:pt idx="1093">
                  <c:v>6.5913669489523041E-2</c:v>
                </c:pt>
                <c:pt idx="1094">
                  <c:v>0.10668344207061053</c:v>
                </c:pt>
                <c:pt idx="1095">
                  <c:v>0.12530724641998703</c:v>
                </c:pt>
                <c:pt idx="1096">
                  <c:v>0.1445256772745761</c:v>
                </c:pt>
                <c:pt idx="1097">
                  <c:v>0.14271055502330798</c:v>
                </c:pt>
                <c:pt idx="1098">
                  <c:v>0.17929386865174857</c:v>
                </c:pt>
                <c:pt idx="1099">
                  <c:v>0.14656683354942535</c:v>
                </c:pt>
                <c:pt idx="1100">
                  <c:v>0.16348842279702824</c:v>
                </c:pt>
                <c:pt idx="1101">
                  <c:v>0.15931400683592001</c:v>
                </c:pt>
                <c:pt idx="1102">
                  <c:v>0.15432821864965174</c:v>
                </c:pt>
                <c:pt idx="1103">
                  <c:v>0.16046770928843912</c:v>
                </c:pt>
                <c:pt idx="1104">
                  <c:v>9.3809484830472134E-2</c:v>
                </c:pt>
                <c:pt idx="1105">
                  <c:v>9.6726151452919185E-2</c:v>
                </c:pt>
                <c:pt idx="1106">
                  <c:v>7.3050515079590705E-2</c:v>
                </c:pt>
                <c:pt idx="1107">
                  <c:v>5.7638802410384216E-2</c:v>
                </c:pt>
                <c:pt idx="1108">
                  <c:v>3.1636234634381699E-2</c:v>
                </c:pt>
                <c:pt idx="1109">
                  <c:v>-5.6417023302589131E-2</c:v>
                </c:pt>
                <c:pt idx="1110">
                  <c:v>-6.1596638005524063E-2</c:v>
                </c:pt>
                <c:pt idx="1111">
                  <c:v>-7.0410308969963697E-3</c:v>
                </c:pt>
                <c:pt idx="1112">
                  <c:v>-3.4568656651802199E-3</c:v>
                </c:pt>
                <c:pt idx="1113">
                  <c:v>-1.2676665855343661E-2</c:v>
                </c:pt>
                <c:pt idx="1114">
                  <c:v>-1.6531756043567825E-2</c:v>
                </c:pt>
                <c:pt idx="1115">
                  <c:v>-2.2623403572527234E-2</c:v>
                </c:pt>
                <c:pt idx="1116">
                  <c:v>-2.2519794640929902E-2</c:v>
                </c:pt>
                <c:pt idx="1117">
                  <c:v>-1.7016973311121175E-2</c:v>
                </c:pt>
                <c:pt idx="1118">
                  <c:v>-4.1095178867828208E-3</c:v>
                </c:pt>
                <c:pt idx="1119">
                  <c:v>-9.5200220684331649E-3</c:v>
                </c:pt>
                <c:pt idx="1120">
                  <c:v>2.8781767873012898E-3</c:v>
                </c:pt>
                <c:pt idx="1121">
                  <c:v>1.1332391417126719E-2</c:v>
                </c:pt>
                <c:pt idx="1122">
                  <c:v>1.3656019124613561E-2</c:v>
                </c:pt>
                <c:pt idx="1123">
                  <c:v>1.0691858964365752E-2</c:v>
                </c:pt>
                <c:pt idx="1124">
                  <c:v>8.0133877711296986E-3</c:v>
                </c:pt>
                <c:pt idx="1125">
                  <c:v>2.0218025045013466E-2</c:v>
                </c:pt>
                <c:pt idx="1126">
                  <c:v>2.0155419638429928E-2</c:v>
                </c:pt>
                <c:pt idx="1127">
                  <c:v>2.3575211970409016E-2</c:v>
                </c:pt>
                <c:pt idx="1128">
                  <c:v>1.8131766631731105E-2</c:v>
                </c:pt>
                <c:pt idx="1129">
                  <c:v>1.1207921540882571E-2</c:v>
                </c:pt>
                <c:pt idx="1130">
                  <c:v>2.3638425147126219E-2</c:v>
                </c:pt>
                <c:pt idx="1131">
                  <c:v>2.8039235979409827E-2</c:v>
                </c:pt>
                <c:pt idx="1132">
                  <c:v>2.5237341117189893E-2</c:v>
                </c:pt>
                <c:pt idx="1133">
                  <c:v>2.4964597099066954E-2</c:v>
                </c:pt>
                <c:pt idx="1134">
                  <c:v>2.9230660924205343E-2</c:v>
                </c:pt>
                <c:pt idx="1135">
                  <c:v>3.3595824365194482E-2</c:v>
                </c:pt>
                <c:pt idx="1136">
                  <c:v>2.2904048468360028E-2</c:v>
                </c:pt>
                <c:pt idx="1137">
                  <c:v>1.8919557849834789E-2</c:v>
                </c:pt>
                <c:pt idx="1138">
                  <c:v>1.4353661495665193E-2</c:v>
                </c:pt>
                <c:pt idx="1139">
                  <c:v>1.2875677053966528E-2</c:v>
                </c:pt>
                <c:pt idx="1140">
                  <c:v>1.3527191510866787E-2</c:v>
                </c:pt>
                <c:pt idx="1141">
                  <c:v>9.7024115164648927E-3</c:v>
                </c:pt>
                <c:pt idx="1142">
                  <c:v>5.7698391859338782E-3</c:v>
                </c:pt>
                <c:pt idx="1143">
                  <c:v>4.6045495632668354E-3</c:v>
                </c:pt>
                <c:pt idx="1144">
                  <c:v>1.1160946643450798E-2</c:v>
                </c:pt>
                <c:pt idx="1145">
                  <c:v>1.415418033973348E-2</c:v>
                </c:pt>
                <c:pt idx="1146">
                  <c:v>2.2209029910690292E-3</c:v>
                </c:pt>
                <c:pt idx="1147">
                  <c:v>4.2373994044301311E-3</c:v>
                </c:pt>
                <c:pt idx="1148">
                  <c:v>8.2820058766445159E-3</c:v>
                </c:pt>
                <c:pt idx="1149">
                  <c:v>1.1952225107770498E-2</c:v>
                </c:pt>
                <c:pt idx="1150">
                  <c:v>8.9828875684998533E-3</c:v>
                </c:pt>
                <c:pt idx="1151">
                  <c:v>-1.2251957064126628E-3</c:v>
                </c:pt>
                <c:pt idx="1152">
                  <c:v>1.0274671949561665E-4</c:v>
                </c:pt>
                <c:pt idx="1153">
                  <c:v>1.2271787928620936E-2</c:v>
                </c:pt>
                <c:pt idx="1154">
                  <c:v>9.979886794426851E-3</c:v>
                </c:pt>
                <c:pt idx="1155">
                  <c:v>1.3781490061262391E-2</c:v>
                </c:pt>
                <c:pt idx="1156">
                  <c:v>8.9941371222098665E-3</c:v>
                </c:pt>
                <c:pt idx="1157">
                  <c:v>1.6157907624737011E-2</c:v>
                </c:pt>
                <c:pt idx="1158">
                  <c:v>2.6774734855409266E-2</c:v>
                </c:pt>
                <c:pt idx="1159">
                  <c:v>4.0888210609204334E-2</c:v>
                </c:pt>
                <c:pt idx="1160">
                  <c:v>4.0194907174446404E-2</c:v>
                </c:pt>
                <c:pt idx="1161">
                  <c:v>4.0947212024643909E-2</c:v>
                </c:pt>
                <c:pt idx="1162">
                  <c:v>4.5533752839398423E-2</c:v>
                </c:pt>
                <c:pt idx="1163">
                  <c:v>3.6377445225556304E-2</c:v>
                </c:pt>
                <c:pt idx="1164">
                  <c:v>2.3782150119625145E-2</c:v>
                </c:pt>
                <c:pt idx="1165">
                  <c:v>2.6486446512941964E-2</c:v>
                </c:pt>
                <c:pt idx="1166">
                  <c:v>3.0663140296615654E-2</c:v>
                </c:pt>
                <c:pt idx="1167">
                  <c:v>2.8476395527106124E-2</c:v>
                </c:pt>
                <c:pt idx="1168">
                  <c:v>3.4259884259306039E-2</c:v>
                </c:pt>
                <c:pt idx="1169">
                  <c:v>3.3075512850214039E-2</c:v>
                </c:pt>
                <c:pt idx="1170">
                  <c:v>2.4179532845962304E-2</c:v>
                </c:pt>
                <c:pt idx="1171">
                  <c:v>2.0570320058764469E-2</c:v>
                </c:pt>
                <c:pt idx="1172">
                  <c:v>2.6541004930567991E-2</c:v>
                </c:pt>
                <c:pt idx="1173">
                  <c:v>2.8555128605143643E-2</c:v>
                </c:pt>
                <c:pt idx="1174">
                  <c:v>2.2509093609725528E-2</c:v>
                </c:pt>
                <c:pt idx="1175">
                  <c:v>2.3459699403710732E-2</c:v>
                </c:pt>
                <c:pt idx="1176">
                  <c:v>3.4383115134653641E-2</c:v>
                </c:pt>
                <c:pt idx="1177">
                  <c:v>3.4703740598464261E-2</c:v>
                </c:pt>
                <c:pt idx="1178">
                  <c:v>3.117215750708513E-2</c:v>
                </c:pt>
                <c:pt idx="1179">
                  <c:v>2.2427582468439233E-2</c:v>
                </c:pt>
                <c:pt idx="1180">
                  <c:v>2.1088372867366534E-2</c:v>
                </c:pt>
                <c:pt idx="1181">
                  <c:v>1.8076590122804048E-2</c:v>
                </c:pt>
                <c:pt idx="1182">
                  <c:v>1.6810494503628703E-2</c:v>
                </c:pt>
                <c:pt idx="1183">
                  <c:v>1.4411497586245381E-2</c:v>
                </c:pt>
                <c:pt idx="1184">
                  <c:v>1.9353184845594451E-2</c:v>
                </c:pt>
                <c:pt idx="1185">
                  <c:v>1.8735049650224656E-2</c:v>
                </c:pt>
                <c:pt idx="1186">
                  <c:v>1.9900566766024141E-2</c:v>
                </c:pt>
                <c:pt idx="1187">
                  <c:v>1.4982917163272713E-2</c:v>
                </c:pt>
                <c:pt idx="1188">
                  <c:v>5.3715849315524311E-3</c:v>
                </c:pt>
                <c:pt idx="1189">
                  <c:v>7.7943909421459567E-3</c:v>
                </c:pt>
                <c:pt idx="1190">
                  <c:v>5.4964437094484619E-3</c:v>
                </c:pt>
                <c:pt idx="1191">
                  <c:v>3.8677666508925013E-3</c:v>
                </c:pt>
                <c:pt idx="1192">
                  <c:v>2.6382346317976868E-3</c:v>
                </c:pt>
                <c:pt idx="1193">
                  <c:v>1.8092685451487123E-2</c:v>
                </c:pt>
                <c:pt idx="1194">
                  <c:v>2.6311746982786155E-2</c:v>
                </c:pt>
                <c:pt idx="1195">
                  <c:v>2.1315999264116869E-2</c:v>
                </c:pt>
                <c:pt idx="1196">
                  <c:v>2.6691480016262203E-2</c:v>
                </c:pt>
                <c:pt idx="1197">
                  <c:v>2.9309994411782059E-2</c:v>
                </c:pt>
                <c:pt idx="1198">
                  <c:v>3.1201884453236128E-2</c:v>
                </c:pt>
                <c:pt idx="1199">
                  <c:v>2.9202564132666864E-2</c:v>
                </c:pt>
                <c:pt idx="1200">
                  <c:v>3.3594651484372684E-2</c:v>
                </c:pt>
                <c:pt idx="1201">
                  <c:v>3.7570943840317339E-2</c:v>
                </c:pt>
                <c:pt idx="1202">
                  <c:v>3.7395087707936647E-2</c:v>
                </c:pt>
                <c:pt idx="1203">
                  <c:v>3.4925593768760921E-2</c:v>
                </c:pt>
                <c:pt idx="1204">
                  <c:v>3.0050974076195835E-2</c:v>
                </c:pt>
                <c:pt idx="1205">
                  <c:v>2.7293211042651366E-2</c:v>
                </c:pt>
                <c:pt idx="1206">
                  <c:v>2.7532772985316756E-2</c:v>
                </c:pt>
                <c:pt idx="1207">
                  <c:v>2.0021123564705978E-2</c:v>
                </c:pt>
                <c:pt idx="1208">
                  <c:v>2.2165689825059731E-2</c:v>
                </c:pt>
                <c:pt idx="1209">
                  <c:v>1.481592741041815E-2</c:v>
                </c:pt>
                <c:pt idx="1210">
                  <c:v>1.8851273040492611E-2</c:v>
                </c:pt>
                <c:pt idx="1211">
                  <c:v>3.2065860822889314E-2</c:v>
                </c:pt>
                <c:pt idx="1212">
                  <c:v>4.015295650267714E-2</c:v>
                </c:pt>
                <c:pt idx="1213">
                  <c:v>3.7861098959034223E-2</c:v>
                </c:pt>
                <c:pt idx="1214">
                  <c:v>3.5951713753290315E-2</c:v>
                </c:pt>
                <c:pt idx="1215">
                  <c:v>2.7427657093930469E-2</c:v>
                </c:pt>
                <c:pt idx="1216">
                  <c:v>1.9540893368806489E-2</c:v>
                </c:pt>
                <c:pt idx="1217">
                  <c:v>1.8275437991117305E-2</c:v>
                </c:pt>
                <c:pt idx="1218">
                  <c:v>1.3528967966929484E-2</c:v>
                </c:pt>
                <c:pt idx="1219">
                  <c:v>8.7480444939314062E-3</c:v>
                </c:pt>
                <c:pt idx="1220">
                  <c:v>6.1097025671119631E-3</c:v>
                </c:pt>
                <c:pt idx="1221">
                  <c:v>9.1721288826552838E-3</c:v>
                </c:pt>
                <c:pt idx="1222">
                  <c:v>7.507172431282183E-3</c:v>
                </c:pt>
                <c:pt idx="1223">
                  <c:v>2.0600408365448741E-3</c:v>
                </c:pt>
                <c:pt idx="1224">
                  <c:v>-3.3183058587997749E-3</c:v>
                </c:pt>
                <c:pt idx="1225">
                  <c:v>-5.179121559275579E-4</c:v>
                </c:pt>
                <c:pt idx="1226">
                  <c:v>6.9884457130720001E-3</c:v>
                </c:pt>
                <c:pt idx="1227">
                  <c:v>-6.0516141517569233E-3</c:v>
                </c:pt>
                <c:pt idx="1228">
                  <c:v>-1.6569128773013975E-2</c:v>
                </c:pt>
                <c:pt idx="1229">
                  <c:v>-1.5295609721809988E-2</c:v>
                </c:pt>
                <c:pt idx="1230">
                  <c:v>-1.2644550893780471E-2</c:v>
                </c:pt>
                <c:pt idx="1231">
                  <c:v>-2.1901332020424547E-2</c:v>
                </c:pt>
                <c:pt idx="1232">
                  <c:v>-2.9357823527825899E-2</c:v>
                </c:pt>
                <c:pt idx="1233">
                  <c:v>-1.4929478864302403E-2</c:v>
                </c:pt>
                <c:pt idx="1234">
                  <c:v>-2.1694216326529348E-2</c:v>
                </c:pt>
                <c:pt idx="1235">
                  <c:v>1.8599058422207326E-2</c:v>
                </c:pt>
                <c:pt idx="1236">
                  <c:v>7.6306842822550069E-2</c:v>
                </c:pt>
                <c:pt idx="1237">
                  <c:v>3.1222380870159827E-2</c:v>
                </c:pt>
                <c:pt idx="1238">
                  <c:v>6.8614828166952968E-2</c:v>
                </c:pt>
                <c:pt idx="1239">
                  <c:v>6.9162919145396073E-2</c:v>
                </c:pt>
                <c:pt idx="1240">
                  <c:v>8.1764583945330371E-2</c:v>
                </c:pt>
                <c:pt idx="1241">
                  <c:v>7.4316292279149376E-2</c:v>
                </c:pt>
                <c:pt idx="1242">
                  <c:v>4.7892987212388105E-2</c:v>
                </c:pt>
                <c:pt idx="1243">
                  <c:v>-2.4238385473354107E-3</c:v>
                </c:pt>
                <c:pt idx="1244">
                  <c:v>4.2782204979916361E-2</c:v>
                </c:pt>
                <c:pt idx="1245">
                  <c:v>2.4602852808348841E-2</c:v>
                </c:pt>
                <c:pt idx="1246">
                  <c:v>1.8174561070152806E-2</c:v>
                </c:pt>
                <c:pt idx="1247">
                  <c:v>3.1120252474602261E-2</c:v>
                </c:pt>
                <c:pt idx="1248">
                  <c:v>9.3537508732514096E-3</c:v>
                </c:pt>
                <c:pt idx="1249">
                  <c:v>-1.0628613078900173E-3</c:v>
                </c:pt>
                <c:pt idx="1250">
                  <c:v>4.6039868136000806E-3</c:v>
                </c:pt>
                <c:pt idx="1251">
                  <c:v>-2.5639762138682354E-2</c:v>
                </c:pt>
                <c:pt idx="1252">
                  <c:v>-2.6360390771028697E-2</c:v>
                </c:pt>
                <c:pt idx="1253">
                  <c:v>-1.6750084322637249E-2</c:v>
                </c:pt>
                <c:pt idx="1254">
                  <c:v>-4.1039178699779799E-2</c:v>
                </c:pt>
                <c:pt idx="1255">
                  <c:v>-3.7064179092037519E-2</c:v>
                </c:pt>
                <c:pt idx="1256">
                  <c:v>-3.6074044758974244E-2</c:v>
                </c:pt>
                <c:pt idx="1257">
                  <c:v>-4.8904235113889194E-2</c:v>
                </c:pt>
                <c:pt idx="1258">
                  <c:v>-4.7061179009735055E-2</c:v>
                </c:pt>
                <c:pt idx="1259">
                  <c:v>-2.7965516064108908E-2</c:v>
                </c:pt>
                <c:pt idx="1260">
                  <c:v>-3.2095359046440564E-2</c:v>
                </c:pt>
                <c:pt idx="1261">
                  <c:v>-2.7950626872743745E-2</c:v>
                </c:pt>
                <c:pt idx="1262">
                  <c:v>1.9264958482105854E-3</c:v>
                </c:pt>
                <c:pt idx="1263">
                  <c:v>-1.0168918945057337E-2</c:v>
                </c:pt>
                <c:pt idx="1264">
                  <c:v>2.1909741877617073E-3</c:v>
                </c:pt>
                <c:pt idx="1265">
                  <c:v>1.6572540862499929E-2</c:v>
                </c:pt>
                <c:pt idx="1266">
                  <c:v>4.2752475087349029E-2</c:v>
                </c:pt>
                <c:pt idx="1267">
                  <c:v>8.702031314824421E-2</c:v>
                </c:pt>
                <c:pt idx="1268">
                  <c:v>8.0946555181303337E-2</c:v>
                </c:pt>
                <c:pt idx="1269">
                  <c:v>7.2780186735677321E-2</c:v>
                </c:pt>
                <c:pt idx="1270">
                  <c:v>0.1067078901757883</c:v>
                </c:pt>
                <c:pt idx="1271">
                  <c:v>7.9292347069751079E-2</c:v>
                </c:pt>
                <c:pt idx="1272">
                  <c:v>5.3124003379884766E-2</c:v>
                </c:pt>
                <c:pt idx="1273">
                  <c:v>2.5047146429741707E-2</c:v>
                </c:pt>
                <c:pt idx="1274">
                  <c:v>1.0482289052089477E-2</c:v>
                </c:pt>
                <c:pt idx="1275">
                  <c:v>1.1095186832696835E-2</c:v>
                </c:pt>
                <c:pt idx="1276">
                  <c:v>-6.4976377923152362E-2</c:v>
                </c:pt>
                <c:pt idx="1277">
                  <c:v>-1.6362999670891831E-2</c:v>
                </c:pt>
                <c:pt idx="1278">
                  <c:v>-2.4553605787855037E-2</c:v>
                </c:pt>
                <c:pt idx="1279">
                  <c:v>8.0145709062471315E-3</c:v>
                </c:pt>
                <c:pt idx="1280">
                  <c:v>4.8824546392445933E-2</c:v>
                </c:pt>
                <c:pt idx="1281">
                  <c:v>8.1818024312018456E-2</c:v>
                </c:pt>
                <c:pt idx="1282">
                  <c:v>8.5114419870734537E-2</c:v>
                </c:pt>
                <c:pt idx="1283">
                  <c:v>7.2890379471507227E-2</c:v>
                </c:pt>
                <c:pt idx="1284">
                  <c:v>9.5877662879860548E-2</c:v>
                </c:pt>
                <c:pt idx="1285">
                  <c:v>0.11045821733023653</c:v>
                </c:pt>
                <c:pt idx="1286">
                  <c:v>0.10797773603664507</c:v>
                </c:pt>
                <c:pt idx="1287">
                  <c:v>0.12601372052442572</c:v>
                </c:pt>
                <c:pt idx="1288">
                  <c:v>0.14487795055208197</c:v>
                </c:pt>
                <c:pt idx="1289">
                  <c:v>0.1238904456748724</c:v>
                </c:pt>
                <c:pt idx="1290">
                  <c:v>0.1265778695661276</c:v>
                </c:pt>
                <c:pt idx="1291">
                  <c:v>0.13720060800684875</c:v>
                </c:pt>
                <c:pt idx="1292">
                  <c:v>0.14589001251735656</c:v>
                </c:pt>
                <c:pt idx="1293">
                  <c:v>0.13819254265689318</c:v>
                </c:pt>
                <c:pt idx="1294">
                  <c:v>0.12923369081957792</c:v>
                </c:pt>
                <c:pt idx="1295">
                  <c:v>0.13463533395196114</c:v>
                </c:pt>
                <c:pt idx="1296">
                  <c:v>0.16484511293893434</c:v>
                </c:pt>
                <c:pt idx="1297">
                  <c:v>0.14403175741925378</c:v>
                </c:pt>
                <c:pt idx="1298">
                  <c:v>0.16370708502455078</c:v>
                </c:pt>
                <c:pt idx="1299">
                  <c:v>0.15079579741264404</c:v>
                </c:pt>
                <c:pt idx="1300">
                  <c:v>8.5110017079826461E-2</c:v>
                </c:pt>
                <c:pt idx="1301">
                  <c:v>7.7805562926571481E-2</c:v>
                </c:pt>
                <c:pt idx="1302">
                  <c:v>0.10956808618942404</c:v>
                </c:pt>
                <c:pt idx="1303">
                  <c:v>6.9943724748085412E-2</c:v>
                </c:pt>
                <c:pt idx="1304">
                  <c:v>7.0028719036772324E-2</c:v>
                </c:pt>
                <c:pt idx="1305">
                  <c:v>-2.1300641981192192E-2</c:v>
                </c:pt>
                <c:pt idx="1306">
                  <c:v>-1.8390822274267582E-2</c:v>
                </c:pt>
                <c:pt idx="1307">
                  <c:v>-2.1044153974741464E-2</c:v>
                </c:pt>
                <c:pt idx="1308">
                  <c:v>-2.4804097247611123E-2</c:v>
                </c:pt>
                <c:pt idx="1309">
                  <c:v>-2.9035050220529657E-2</c:v>
                </c:pt>
                <c:pt idx="1310">
                  <c:v>-1.5702085591615234E-2</c:v>
                </c:pt>
                <c:pt idx="1311">
                  <c:v>-1.9670174968618337E-2</c:v>
                </c:pt>
                <c:pt idx="1312">
                  <c:v>-3.6057551647712405E-3</c:v>
                </c:pt>
                <c:pt idx="1313">
                  <c:v>4.6768139360975347E-4</c:v>
                </c:pt>
                <c:pt idx="1314">
                  <c:v>2.1640246351021242E-3</c:v>
                </c:pt>
                <c:pt idx="1315">
                  <c:v>1.2608517216445514E-2</c:v>
                </c:pt>
                <c:pt idx="1316">
                  <c:v>1.4159512086248216E-2</c:v>
                </c:pt>
                <c:pt idx="1317">
                  <c:v>2.0510051255206219E-2</c:v>
                </c:pt>
                <c:pt idx="1318">
                  <c:v>1.8278727764858504E-2</c:v>
                </c:pt>
                <c:pt idx="1319">
                  <c:v>2.3470129081749391E-2</c:v>
                </c:pt>
                <c:pt idx="1320">
                  <c:v>2.2384363104676952E-2</c:v>
                </c:pt>
                <c:pt idx="1321">
                  <c:v>1.9970739508265445E-2</c:v>
                </c:pt>
                <c:pt idx="1322">
                  <c:v>2.1784311088341113E-2</c:v>
                </c:pt>
                <c:pt idx="1323">
                  <c:v>1.9397039634343471E-2</c:v>
                </c:pt>
                <c:pt idx="1324">
                  <c:v>2.2827996025700625E-2</c:v>
                </c:pt>
                <c:pt idx="1325">
                  <c:v>3.1464135393662329E-2</c:v>
                </c:pt>
                <c:pt idx="1326">
                  <c:v>3.0742510392603006E-2</c:v>
                </c:pt>
                <c:pt idx="1327">
                  <c:v>3.2217142558868872E-2</c:v>
                </c:pt>
                <c:pt idx="1328">
                  <c:v>4.0987733439770135E-2</c:v>
                </c:pt>
                <c:pt idx="1329">
                  <c:v>3.2319524084506224E-2</c:v>
                </c:pt>
                <c:pt idx="1330">
                  <c:v>3.433831549158628E-2</c:v>
                </c:pt>
                <c:pt idx="1331">
                  <c:v>2.8848827860231685E-2</c:v>
                </c:pt>
                <c:pt idx="1332">
                  <c:v>2.6947692794990985E-2</c:v>
                </c:pt>
                <c:pt idx="1333">
                  <c:v>2.5288552504990847E-2</c:v>
                </c:pt>
                <c:pt idx="1334">
                  <c:v>2.4442291118359716E-2</c:v>
                </c:pt>
                <c:pt idx="1335">
                  <c:v>1.8613361761794844E-2</c:v>
                </c:pt>
                <c:pt idx="1336">
                  <c:v>1.6131165747784171E-2</c:v>
                </c:pt>
                <c:pt idx="1337">
                  <c:v>1.6730117066568684E-2</c:v>
                </c:pt>
                <c:pt idx="1338">
                  <c:v>1.5730981989645954E-2</c:v>
                </c:pt>
                <c:pt idx="1339">
                  <c:v>2.5635428843255759E-2</c:v>
                </c:pt>
                <c:pt idx="1340">
                  <c:v>1.9786665209271304E-2</c:v>
                </c:pt>
                <c:pt idx="1341">
                  <c:v>2.0926739129391803E-2</c:v>
                </c:pt>
                <c:pt idx="1342">
                  <c:v>1.5687786707451412E-2</c:v>
                </c:pt>
                <c:pt idx="1343">
                  <c:v>2.158605917109635E-2</c:v>
                </c:pt>
                <c:pt idx="1344">
                  <c:v>2.7615603359168794E-2</c:v>
                </c:pt>
                <c:pt idx="1345">
                  <c:v>1.7784800505631804E-2</c:v>
                </c:pt>
                <c:pt idx="1346">
                  <c:v>1.5672055362457971E-2</c:v>
                </c:pt>
                <c:pt idx="1347">
                  <c:v>8.0049953263154894E-3</c:v>
                </c:pt>
                <c:pt idx="1348">
                  <c:v>6.8956936890680609E-3</c:v>
                </c:pt>
                <c:pt idx="1349">
                  <c:v>3.8540927348650333E-3</c:v>
                </c:pt>
                <c:pt idx="1350">
                  <c:v>6.5362149256529278E-3</c:v>
                </c:pt>
                <c:pt idx="1351">
                  <c:v>7.306643111557598E-4</c:v>
                </c:pt>
                <c:pt idx="1352">
                  <c:v>7.4893884271144406E-3</c:v>
                </c:pt>
                <c:pt idx="1353">
                  <c:v>7.7088755061381908E-3</c:v>
                </c:pt>
                <c:pt idx="1354">
                  <c:v>1.0028805428161314E-2</c:v>
                </c:pt>
                <c:pt idx="1355">
                  <c:v>3.592510528986681E-3</c:v>
                </c:pt>
                <c:pt idx="1356">
                  <c:v>-1.5743606184177583E-3</c:v>
                </c:pt>
                <c:pt idx="1357">
                  <c:v>-5.1836685990059861E-3</c:v>
                </c:pt>
                <c:pt idx="1358">
                  <c:v>-4.7300760841818557E-3</c:v>
                </c:pt>
                <c:pt idx="1359">
                  <c:v>-3.2004624415140626E-3</c:v>
                </c:pt>
                <c:pt idx="1360">
                  <c:v>-1.3634209375083306E-2</c:v>
                </c:pt>
                <c:pt idx="1361">
                  <c:v>-5.4792019953601168E-3</c:v>
                </c:pt>
                <c:pt idx="1362">
                  <c:v>3.4050826010012525E-4</c:v>
                </c:pt>
                <c:pt idx="1363">
                  <c:v>3.962530250496199E-3</c:v>
                </c:pt>
                <c:pt idx="1364">
                  <c:v>1.0329326646232873E-2</c:v>
                </c:pt>
                <c:pt idx="1365">
                  <c:v>1.9687653516144876E-2</c:v>
                </c:pt>
                <c:pt idx="1366">
                  <c:v>1.6899462469203708E-2</c:v>
                </c:pt>
                <c:pt idx="1367">
                  <c:v>2.8673884461809518E-3</c:v>
                </c:pt>
                <c:pt idx="1368">
                  <c:v>1.5719433403101224E-2</c:v>
                </c:pt>
                <c:pt idx="1369">
                  <c:v>8.0653217224893048E-3</c:v>
                </c:pt>
                <c:pt idx="1370">
                  <c:v>1.4318202497305421E-2</c:v>
                </c:pt>
                <c:pt idx="1371">
                  <c:v>6.9093433988129949E-3</c:v>
                </c:pt>
                <c:pt idx="1372">
                  <c:v>6.3755342219099509E-3</c:v>
                </c:pt>
                <c:pt idx="1373">
                  <c:v>1.4284492828570139E-3</c:v>
                </c:pt>
                <c:pt idx="1374">
                  <c:v>4.9660391811205962E-3</c:v>
                </c:pt>
                <c:pt idx="1375">
                  <c:v>1.4888667020128588E-2</c:v>
                </c:pt>
                <c:pt idx="1376">
                  <c:v>1.7612309409419269E-2</c:v>
                </c:pt>
                <c:pt idx="1377">
                  <c:v>2.0902071291643343E-2</c:v>
                </c:pt>
                <c:pt idx="1378">
                  <c:v>2.4123505233625386E-2</c:v>
                </c:pt>
                <c:pt idx="1379">
                  <c:v>2.7198788001282614E-2</c:v>
                </c:pt>
                <c:pt idx="1380">
                  <c:v>2.3158605899396445E-2</c:v>
                </c:pt>
                <c:pt idx="1381">
                  <c:v>2.4549103150560247E-2</c:v>
                </c:pt>
                <c:pt idx="1382">
                  <c:v>2.1588905513968748E-2</c:v>
                </c:pt>
                <c:pt idx="1383">
                  <c:v>1.9274348726815105E-2</c:v>
                </c:pt>
                <c:pt idx="1384">
                  <c:v>6.0481057905944491E-3</c:v>
                </c:pt>
                <c:pt idx="1385">
                  <c:v>9.4941885640295043E-3</c:v>
                </c:pt>
                <c:pt idx="1386">
                  <c:v>1.6002124293402531E-2</c:v>
                </c:pt>
                <c:pt idx="1387">
                  <c:v>1.530227566174247E-2</c:v>
                </c:pt>
                <c:pt idx="1388">
                  <c:v>1.7223314700163805E-2</c:v>
                </c:pt>
                <c:pt idx="1389">
                  <c:v>2.4291449652824593E-2</c:v>
                </c:pt>
                <c:pt idx="1390">
                  <c:v>3.7370129895680226E-2</c:v>
                </c:pt>
                <c:pt idx="1391">
                  <c:v>2.720899722285508E-2</c:v>
                </c:pt>
                <c:pt idx="1392">
                  <c:v>1.8321711129466456E-2</c:v>
                </c:pt>
                <c:pt idx="1393">
                  <c:v>1.5957596867891999E-2</c:v>
                </c:pt>
                <c:pt idx="1394">
                  <c:v>1.3142037569645493E-2</c:v>
                </c:pt>
                <c:pt idx="1395">
                  <c:v>5.0645071305509548E-3</c:v>
                </c:pt>
                <c:pt idx="1396">
                  <c:v>2.0893616808671522E-3</c:v>
                </c:pt>
                <c:pt idx="1397">
                  <c:v>9.9988781679756222E-3</c:v>
                </c:pt>
                <c:pt idx="1398">
                  <c:v>5.1625397166896736E-3</c:v>
                </c:pt>
                <c:pt idx="1399">
                  <c:v>1.0740854961341695E-2</c:v>
                </c:pt>
                <c:pt idx="1400">
                  <c:v>-2.5784447667940302E-3</c:v>
                </c:pt>
                <c:pt idx="1401">
                  <c:v>-4.1589928897125539E-3</c:v>
                </c:pt>
                <c:pt idx="1402">
                  <c:v>-1.0985438554431681E-3</c:v>
                </c:pt>
                <c:pt idx="1403">
                  <c:v>-1.1647439230052514E-3</c:v>
                </c:pt>
                <c:pt idx="1404">
                  <c:v>-6.2330660063762977E-3</c:v>
                </c:pt>
                <c:pt idx="1405">
                  <c:v>-1.2358655299375965E-2</c:v>
                </c:pt>
                <c:pt idx="1406">
                  <c:v>-2.6412211409576059E-2</c:v>
                </c:pt>
                <c:pt idx="1407">
                  <c:v>-2.6686763599179764E-2</c:v>
                </c:pt>
                <c:pt idx="1408">
                  <c:v>-2.4321717016301481E-2</c:v>
                </c:pt>
                <c:pt idx="1409">
                  <c:v>-3.8944639023552496E-2</c:v>
                </c:pt>
                <c:pt idx="1410">
                  <c:v>-3.9995709915171318E-2</c:v>
                </c:pt>
                <c:pt idx="1411">
                  <c:v>-5.5806629524659535E-2</c:v>
                </c:pt>
                <c:pt idx="1412">
                  <c:v>-5.8333820465948927E-2</c:v>
                </c:pt>
                <c:pt idx="1413">
                  <c:v>-6.4605772004920792E-2</c:v>
                </c:pt>
                <c:pt idx="1414">
                  <c:v>-5.5828903734455482E-2</c:v>
                </c:pt>
                <c:pt idx="1415">
                  <c:v>-5.3991615375151847E-2</c:v>
                </c:pt>
                <c:pt idx="1416">
                  <c:v>-5.693920808306796E-2</c:v>
                </c:pt>
                <c:pt idx="1417">
                  <c:v>-5.7372617210438182E-2</c:v>
                </c:pt>
                <c:pt idx="1418">
                  <c:v>-5.262782861669757E-2</c:v>
                </c:pt>
                <c:pt idx="1419">
                  <c:v>-4.6776645353577062E-2</c:v>
                </c:pt>
                <c:pt idx="1420">
                  <c:v>-5.0002301233068702E-2</c:v>
                </c:pt>
                <c:pt idx="1421">
                  <c:v>-4.3880594566051756E-2</c:v>
                </c:pt>
                <c:pt idx="1422">
                  <c:v>-3.2350795706618807E-2</c:v>
                </c:pt>
                <c:pt idx="1423">
                  <c:v>-3.1007259676798293E-2</c:v>
                </c:pt>
                <c:pt idx="1424">
                  <c:v>-2.4124857289537949E-2</c:v>
                </c:pt>
                <c:pt idx="1425">
                  <c:v>-5.755449088122977E-3</c:v>
                </c:pt>
                <c:pt idx="1426">
                  <c:v>-1.2150580278206258E-2</c:v>
                </c:pt>
                <c:pt idx="1427">
                  <c:v>-9.8153721498788205E-3</c:v>
                </c:pt>
                <c:pt idx="1428">
                  <c:v>-6.8833848076121917E-3</c:v>
                </c:pt>
                <c:pt idx="1429">
                  <c:v>-3.9542157487286733E-3</c:v>
                </c:pt>
                <c:pt idx="1430">
                  <c:v>1.1255604322310986E-2</c:v>
                </c:pt>
                <c:pt idx="1431">
                  <c:v>1.6804020813664278E-2</c:v>
                </c:pt>
                <c:pt idx="1432">
                  <c:v>1.4646447436230781E-2</c:v>
                </c:pt>
                <c:pt idx="1433">
                  <c:v>1.3322072088531089E-2</c:v>
                </c:pt>
                <c:pt idx="1434">
                  <c:v>1.9140024183507909E-2</c:v>
                </c:pt>
                <c:pt idx="1435">
                  <c:v>1.3092324372287023E-2</c:v>
                </c:pt>
                <c:pt idx="1436">
                  <c:v>1.5161204057613786E-2</c:v>
                </c:pt>
                <c:pt idx="1437">
                  <c:v>1.0356057182013378E-2</c:v>
                </c:pt>
                <c:pt idx="1438">
                  <c:v>7.5965749748980738E-3</c:v>
                </c:pt>
                <c:pt idx="1439">
                  <c:v>1.2493032744454458E-2</c:v>
                </c:pt>
                <c:pt idx="1440">
                  <c:v>1.6638371359634418E-2</c:v>
                </c:pt>
                <c:pt idx="1441">
                  <c:v>1.8392136719949437E-2</c:v>
                </c:pt>
                <c:pt idx="1442">
                  <c:v>1.5704753684497641E-2</c:v>
                </c:pt>
                <c:pt idx="1443">
                  <c:v>1.8915598860474669E-2</c:v>
                </c:pt>
                <c:pt idx="1444">
                  <c:v>2.1339587773377633E-2</c:v>
                </c:pt>
                <c:pt idx="1445">
                  <c:v>2.002574178989025E-2</c:v>
                </c:pt>
                <c:pt idx="1446">
                  <c:v>2.4397219503620948E-2</c:v>
                </c:pt>
                <c:pt idx="1447">
                  <c:v>2.4469551430062908E-2</c:v>
                </c:pt>
                <c:pt idx="1448">
                  <c:v>1.9494078190790964E-2</c:v>
                </c:pt>
                <c:pt idx="1449">
                  <c:v>1.7034822944926198E-2</c:v>
                </c:pt>
                <c:pt idx="1450">
                  <c:v>1.7622282047784932E-2</c:v>
                </c:pt>
                <c:pt idx="1451">
                  <c:v>1.6656931468856495E-2</c:v>
                </c:pt>
                <c:pt idx="1452">
                  <c:v>1.6501189408539618E-2</c:v>
                </c:pt>
                <c:pt idx="1453">
                  <c:v>1.655382682745854E-2</c:v>
                </c:pt>
                <c:pt idx="1454">
                  <c:v>-3.4566420253919761E-3</c:v>
                </c:pt>
                <c:pt idx="1455">
                  <c:v>-1.5636272431226561E-2</c:v>
                </c:pt>
                <c:pt idx="1456">
                  <c:v>-5.7774704472652871E-3</c:v>
                </c:pt>
                <c:pt idx="1457">
                  <c:v>-2.124145056960125E-3</c:v>
                </c:pt>
                <c:pt idx="1458">
                  <c:v>-5.3119830145370583E-3</c:v>
                </c:pt>
                <c:pt idx="1459">
                  <c:v>-5.8731790665059735E-3</c:v>
                </c:pt>
                <c:pt idx="1460">
                  <c:v>-1.7860557025481949E-2</c:v>
                </c:pt>
                <c:pt idx="1461">
                  <c:v>-1.304693655107092E-2</c:v>
                </c:pt>
                <c:pt idx="1462">
                  <c:v>-1.2822023847004704E-2</c:v>
                </c:pt>
                <c:pt idx="1463">
                  <c:v>-1.6301140953810633E-2</c:v>
                </c:pt>
                <c:pt idx="1464">
                  <c:v>-1.1059590142277531E-2</c:v>
                </c:pt>
                <c:pt idx="1465">
                  <c:v>-6.3844178005471042E-3</c:v>
                </c:pt>
                <c:pt idx="1466">
                  <c:v>-6.9115764789732248E-3</c:v>
                </c:pt>
                <c:pt idx="1467">
                  <c:v>1.4631873910664339E-3</c:v>
                </c:pt>
                <c:pt idx="1468">
                  <c:v>2.3114509482848877E-3</c:v>
                </c:pt>
                <c:pt idx="1469">
                  <c:v>2.3257519591767251E-3</c:v>
                </c:pt>
                <c:pt idx="1470">
                  <c:v>2.5185127044460298E-3</c:v>
                </c:pt>
                <c:pt idx="1471">
                  <c:v>6.8747768450796443E-3</c:v>
                </c:pt>
                <c:pt idx="1472">
                  <c:v>6.7631159517859141E-3</c:v>
                </c:pt>
                <c:pt idx="1473">
                  <c:v>1.1731898789108408E-2</c:v>
                </c:pt>
                <c:pt idx="1474">
                  <c:v>3.7070792636938465E-3</c:v>
                </c:pt>
                <c:pt idx="1475">
                  <c:v>9.4718959033717187E-3</c:v>
                </c:pt>
                <c:pt idx="1476">
                  <c:v>9.8139265405616793E-3</c:v>
                </c:pt>
                <c:pt idx="1477">
                  <c:v>3.7297679801850947E-3</c:v>
                </c:pt>
                <c:pt idx="1478">
                  <c:v>7.8197016067491631E-3</c:v>
                </c:pt>
                <c:pt idx="1479">
                  <c:v>-2.1238790509784389E-3</c:v>
                </c:pt>
                <c:pt idx="1480">
                  <c:v>-7.9569803525846305E-3</c:v>
                </c:pt>
                <c:pt idx="1481">
                  <c:v>-8.8931836968297873E-4</c:v>
                </c:pt>
                <c:pt idx="1482">
                  <c:v>-1.0542152081071898E-2</c:v>
                </c:pt>
                <c:pt idx="1483">
                  <c:v>-1.3494614454164777E-2</c:v>
                </c:pt>
                <c:pt idx="1484">
                  <c:v>-1.7721549690835614E-3</c:v>
                </c:pt>
                <c:pt idx="1485">
                  <c:v>6.0378791298927315E-3</c:v>
                </c:pt>
                <c:pt idx="1486">
                  <c:v>1.8699185450970934E-2</c:v>
                </c:pt>
                <c:pt idx="1487">
                  <c:v>1.5612030890304718E-2</c:v>
                </c:pt>
                <c:pt idx="1488">
                  <c:v>1.7612323019025489E-2</c:v>
                </c:pt>
                <c:pt idx="1489">
                  <c:v>1.624443566292566E-2</c:v>
                </c:pt>
                <c:pt idx="1490">
                  <c:v>1.54578211062808E-2</c:v>
                </c:pt>
                <c:pt idx="1491">
                  <c:v>8.3230843550080591E-3</c:v>
                </c:pt>
                <c:pt idx="1492">
                  <c:v>1.4830795898868043E-3</c:v>
                </c:pt>
                <c:pt idx="1493">
                  <c:v>-4.7742263626240344E-3</c:v>
                </c:pt>
                <c:pt idx="1494">
                  <c:v>-6.173324517010359E-3</c:v>
                </c:pt>
                <c:pt idx="1495">
                  <c:v>-5.9841767332522444E-3</c:v>
                </c:pt>
                <c:pt idx="1496">
                  <c:v>-5.0712996891948414E-3</c:v>
                </c:pt>
                <c:pt idx="1497">
                  <c:v>-1.9053972646592143E-3</c:v>
                </c:pt>
                <c:pt idx="1498">
                  <c:v>-2.3027403576213468E-3</c:v>
                </c:pt>
                <c:pt idx="1499">
                  <c:v>3.9802114881217765E-3</c:v>
                </c:pt>
                <c:pt idx="1500">
                  <c:v>-6.5145491364685393E-3</c:v>
                </c:pt>
                <c:pt idx="1501">
                  <c:v>4.8655999254065829E-3</c:v>
                </c:pt>
                <c:pt idx="1502">
                  <c:v>3.0912033731755884E-3</c:v>
                </c:pt>
                <c:pt idx="1503">
                  <c:v>-1.0488358291778077E-2</c:v>
                </c:pt>
                <c:pt idx="1504">
                  <c:v>-2.0262523816665379E-3</c:v>
                </c:pt>
                <c:pt idx="1505">
                  <c:v>-7.0055351467422922E-3</c:v>
                </c:pt>
                <c:pt idx="1506">
                  <c:v>-2.4108426869808852E-3</c:v>
                </c:pt>
                <c:pt idx="1507">
                  <c:v>1.4565713486632381E-2</c:v>
                </c:pt>
                <c:pt idx="1508">
                  <c:v>1.517178361772753E-2</c:v>
                </c:pt>
                <c:pt idx="1509">
                  <c:v>9.8879079891570631E-3</c:v>
                </c:pt>
                <c:pt idx="1510">
                  <c:v>7.1792968697814707E-3</c:v>
                </c:pt>
                <c:pt idx="1511">
                  <c:v>1.3230333756503732E-2</c:v>
                </c:pt>
                <c:pt idx="1512">
                  <c:v>1.4755920213590401E-2</c:v>
                </c:pt>
                <c:pt idx="1513">
                  <c:v>7.6769364827309339E-3</c:v>
                </c:pt>
                <c:pt idx="1514">
                  <c:v>1.404875152042806E-2</c:v>
                </c:pt>
                <c:pt idx="1515">
                  <c:v>1.0170591197488754E-2</c:v>
                </c:pt>
                <c:pt idx="1516">
                  <c:v>-7.2838697258859053E-4</c:v>
                </c:pt>
                <c:pt idx="1517">
                  <c:v>2.9256368830531398E-3</c:v>
                </c:pt>
                <c:pt idx="1518">
                  <c:v>1.172656829857488E-2</c:v>
                </c:pt>
                <c:pt idx="1519">
                  <c:v>1.4417140791363026E-2</c:v>
                </c:pt>
                <c:pt idx="1520">
                  <c:v>3.9297066718073648E-3</c:v>
                </c:pt>
                <c:pt idx="1521">
                  <c:v>1.0397444307031822E-2</c:v>
                </c:pt>
                <c:pt idx="1522">
                  <c:v>5.4464822194869589E-3</c:v>
                </c:pt>
                <c:pt idx="1523">
                  <c:v>1.0642633657622635E-2</c:v>
                </c:pt>
                <c:pt idx="1524">
                  <c:v>5.7401404187149563E-3</c:v>
                </c:pt>
                <c:pt idx="1525">
                  <c:v>9.5302216384081095E-3</c:v>
                </c:pt>
                <c:pt idx="1526">
                  <c:v>7.0632896952113056E-3</c:v>
                </c:pt>
                <c:pt idx="1527">
                  <c:v>6.2766624545054217E-3</c:v>
                </c:pt>
                <c:pt idx="1528">
                  <c:v>1.3526375290193848E-2</c:v>
                </c:pt>
                <c:pt idx="1529">
                  <c:v>1.7686034497964576E-3</c:v>
                </c:pt>
                <c:pt idx="1530">
                  <c:v>1.0640598713632543E-2</c:v>
                </c:pt>
                <c:pt idx="1531">
                  <c:v>4.126975486623774E-3</c:v>
                </c:pt>
                <c:pt idx="1532">
                  <c:v>1.279770542934433E-2</c:v>
                </c:pt>
                <c:pt idx="1533">
                  <c:v>1.002887161831767E-2</c:v>
                </c:pt>
                <c:pt idx="1534">
                  <c:v>9.0210905481772352E-3</c:v>
                </c:pt>
                <c:pt idx="1535">
                  <c:v>9.6035021262340647E-3</c:v>
                </c:pt>
                <c:pt idx="1536">
                  <c:v>6.3239191737965994E-3</c:v>
                </c:pt>
                <c:pt idx="1537">
                  <c:v>7.631963614132653E-3</c:v>
                </c:pt>
                <c:pt idx="1538">
                  <c:v>1.1590084462893557E-2</c:v>
                </c:pt>
                <c:pt idx="1539">
                  <c:v>1.1034688344126464E-2</c:v>
                </c:pt>
                <c:pt idx="1540">
                  <c:v>1.1494993806450582E-2</c:v>
                </c:pt>
                <c:pt idx="1541">
                  <c:v>1.1840910978045849E-2</c:v>
                </c:pt>
                <c:pt idx="1542">
                  <c:v>7.7986307624048345E-3</c:v>
                </c:pt>
                <c:pt idx="1543">
                  <c:v>8.6593791610439785E-3</c:v>
                </c:pt>
                <c:pt idx="1544">
                  <c:v>-1.3180105522080376E-3</c:v>
                </c:pt>
                <c:pt idx="1545">
                  <c:v>1.2089559578845055E-3</c:v>
                </c:pt>
                <c:pt idx="1546">
                  <c:v>-9.3978916861207074E-3</c:v>
                </c:pt>
                <c:pt idx="1547">
                  <c:v>-1.4521378428333565E-2</c:v>
                </c:pt>
                <c:pt idx="1548">
                  <c:v>-1.5584711938449125E-2</c:v>
                </c:pt>
                <c:pt idx="1549">
                  <c:v>-2.5681404296104104E-2</c:v>
                </c:pt>
                <c:pt idx="1550">
                  <c:v>-2.0514686695315976E-2</c:v>
                </c:pt>
                <c:pt idx="1551">
                  <c:v>-1.8524107374486065E-2</c:v>
                </c:pt>
                <c:pt idx="1552">
                  <c:v>-1.0073870461085987E-2</c:v>
                </c:pt>
                <c:pt idx="1553">
                  <c:v>-8.9902973676042608E-3</c:v>
                </c:pt>
                <c:pt idx="1554">
                  <c:v>-1.1993974039603117E-2</c:v>
                </c:pt>
                <c:pt idx="1555">
                  <c:v>-1.1847538923686507E-2</c:v>
                </c:pt>
                <c:pt idx="1556">
                  <c:v>-7.5445862208919356E-3</c:v>
                </c:pt>
                <c:pt idx="1557">
                  <c:v>-2.1988975275978317E-3</c:v>
                </c:pt>
                <c:pt idx="1558">
                  <c:v>-2.4036113167801298E-3</c:v>
                </c:pt>
                <c:pt idx="1559">
                  <c:v>-2.643770830772052E-3</c:v>
                </c:pt>
                <c:pt idx="1560">
                  <c:v>-2.9948446529237671E-3</c:v>
                </c:pt>
                <c:pt idx="1561">
                  <c:v>1.11839391977262E-2</c:v>
                </c:pt>
                <c:pt idx="1562">
                  <c:v>2.1150902077370359E-3</c:v>
                </c:pt>
                <c:pt idx="1563">
                  <c:v>2.324430064672911E-2</c:v>
                </c:pt>
                <c:pt idx="1564">
                  <c:v>2.3557817465727826E-2</c:v>
                </c:pt>
                <c:pt idx="1565">
                  <c:v>1.9266356591082778E-2</c:v>
                </c:pt>
                <c:pt idx="1566">
                  <c:v>9.3527849947999675E-3</c:v>
                </c:pt>
                <c:pt idx="1567">
                  <c:v>8.1311165163032717E-3</c:v>
                </c:pt>
                <c:pt idx="1568">
                  <c:v>6.1752931107558195E-3</c:v>
                </c:pt>
                <c:pt idx="1569">
                  <c:v>3.9079578860911068E-3</c:v>
                </c:pt>
                <c:pt idx="1570">
                  <c:v>4.0525615569413365E-3</c:v>
                </c:pt>
                <c:pt idx="1571">
                  <c:v>1.2466913300578808E-2</c:v>
                </c:pt>
                <c:pt idx="1572">
                  <c:v>1.1379108779891345E-2</c:v>
                </c:pt>
                <c:pt idx="1573">
                  <c:v>1.2130111519115916E-2</c:v>
                </c:pt>
                <c:pt idx="1574">
                  <c:v>6.0203762671890981E-3</c:v>
                </c:pt>
                <c:pt idx="1575">
                  <c:v>5.2779078649549671E-3</c:v>
                </c:pt>
                <c:pt idx="1576">
                  <c:v>8.3413565916534704E-3</c:v>
                </c:pt>
                <c:pt idx="1577">
                  <c:v>8.4756156382982395E-3</c:v>
                </c:pt>
                <c:pt idx="1578">
                  <c:v>9.5963564084261543E-3</c:v>
                </c:pt>
                <c:pt idx="1579">
                  <c:v>1.2836232224112232E-2</c:v>
                </c:pt>
                <c:pt idx="1580">
                  <c:v>5.1081671316856037E-3</c:v>
                </c:pt>
                <c:pt idx="1581">
                  <c:v>2.7517357083499672E-3</c:v>
                </c:pt>
                <c:pt idx="1582">
                  <c:v>5.6197709231298187E-3</c:v>
                </c:pt>
                <c:pt idx="1583">
                  <c:v>9.3962820129545044E-3</c:v>
                </c:pt>
                <c:pt idx="1584">
                  <c:v>7.8923413030973499E-3</c:v>
                </c:pt>
                <c:pt idx="1585">
                  <c:v>9.7324686133865024E-3</c:v>
                </c:pt>
                <c:pt idx="1586">
                  <c:v>1.0335988754115788E-2</c:v>
                </c:pt>
                <c:pt idx="1587">
                  <c:v>1.0063353837604816E-2</c:v>
                </c:pt>
                <c:pt idx="1588">
                  <c:v>7.6553169643850394E-3</c:v>
                </c:pt>
                <c:pt idx="1589">
                  <c:v>1.4926493577023026E-2</c:v>
                </c:pt>
                <c:pt idx="1590">
                  <c:v>7.2940951649055341E-3</c:v>
                </c:pt>
                <c:pt idx="1591">
                  <c:v>6.3782239578868971E-3</c:v>
                </c:pt>
                <c:pt idx="1592">
                  <c:v>4.7523734451310196E-3</c:v>
                </c:pt>
                <c:pt idx="1593">
                  <c:v>8.2613713607655459E-3</c:v>
                </c:pt>
                <c:pt idx="1594">
                  <c:v>4.2956948879425694E-3</c:v>
                </c:pt>
                <c:pt idx="1595">
                  <c:v>1.2574125494552391E-2</c:v>
                </c:pt>
                <c:pt idx="1596">
                  <c:v>1.612750557465259E-2</c:v>
                </c:pt>
                <c:pt idx="1597">
                  <c:v>1.1488583284340548E-2</c:v>
                </c:pt>
                <c:pt idx="1598">
                  <c:v>9.4659759519821751E-4</c:v>
                </c:pt>
                <c:pt idx="1599">
                  <c:v>3.1147955260462101E-3</c:v>
                </c:pt>
                <c:pt idx="1600">
                  <c:v>7.5975628767626091E-3</c:v>
                </c:pt>
                <c:pt idx="1601">
                  <c:v>2.3536444473838403E-3</c:v>
                </c:pt>
                <c:pt idx="1602">
                  <c:v>7.3872426790743129E-3</c:v>
                </c:pt>
                <c:pt idx="1603">
                  <c:v>1.3389066757047985E-2</c:v>
                </c:pt>
                <c:pt idx="1604">
                  <c:v>8.4669360383592407E-3</c:v>
                </c:pt>
                <c:pt idx="1605">
                  <c:v>3.4522062142876564E-3</c:v>
                </c:pt>
                <c:pt idx="1606">
                  <c:v>-2.9923369604527572E-3</c:v>
                </c:pt>
                <c:pt idx="1607">
                  <c:v>8.650197610042043E-3</c:v>
                </c:pt>
                <c:pt idx="1608">
                  <c:v>3.8567533036025781E-3</c:v>
                </c:pt>
                <c:pt idx="1609">
                  <c:v>4.0794350456734296E-3</c:v>
                </c:pt>
                <c:pt idx="1610">
                  <c:v>5.4574058605298958E-3</c:v>
                </c:pt>
                <c:pt idx="1611">
                  <c:v>4.6525799872405571E-3</c:v>
                </c:pt>
                <c:pt idx="1612">
                  <c:v>8.23628247453978E-3</c:v>
                </c:pt>
                <c:pt idx="1613">
                  <c:v>8.5159763413049649E-3</c:v>
                </c:pt>
                <c:pt idx="1614">
                  <c:v>1.2258255096522452E-2</c:v>
                </c:pt>
                <c:pt idx="1615">
                  <c:v>8.2328746157125376E-3</c:v>
                </c:pt>
                <c:pt idx="1616">
                  <c:v>1.0390569918512949E-2</c:v>
                </c:pt>
                <c:pt idx="1617">
                  <c:v>8.6285851859736473E-3</c:v>
                </c:pt>
                <c:pt idx="1618">
                  <c:v>8.267285493031129E-3</c:v>
                </c:pt>
                <c:pt idx="1619">
                  <c:v>7.1633104222594834E-3</c:v>
                </c:pt>
                <c:pt idx="1620">
                  <c:v>1.3649375151470577E-2</c:v>
                </c:pt>
                <c:pt idx="1621">
                  <c:v>1.1861136640527903E-2</c:v>
                </c:pt>
                <c:pt idx="1622">
                  <c:v>1.4664158441974662E-2</c:v>
                </c:pt>
                <c:pt idx="1623">
                  <c:v>-4.5816942446003095E-3</c:v>
                </c:pt>
                <c:pt idx="1624">
                  <c:v>-5.5948363355340369E-3</c:v>
                </c:pt>
                <c:pt idx="1625">
                  <c:v>-1.8700558529226585E-3</c:v>
                </c:pt>
                <c:pt idx="1626">
                  <c:v>-1.7922871296495946E-2</c:v>
                </c:pt>
                <c:pt idx="1627">
                  <c:v>-1.448713540033264E-2</c:v>
                </c:pt>
                <c:pt idx="1628">
                  <c:v>-1.0412314175402781E-2</c:v>
                </c:pt>
                <c:pt idx="1629">
                  <c:v>-8.4643954888544704E-3</c:v>
                </c:pt>
                <c:pt idx="1630">
                  <c:v>-9.2580196268783332E-3</c:v>
                </c:pt>
                <c:pt idx="1631">
                  <c:v>-6.3996331457658595E-3</c:v>
                </c:pt>
                <c:pt idx="1632">
                  <c:v>-8.6019367995059381E-3</c:v>
                </c:pt>
                <c:pt idx="1633">
                  <c:v>-1.0982317105102668E-2</c:v>
                </c:pt>
                <c:pt idx="1634">
                  <c:v>-1.1588855644600549E-2</c:v>
                </c:pt>
                <c:pt idx="1635">
                  <c:v>6.2336417605557415E-5</c:v>
                </c:pt>
                <c:pt idx="1636">
                  <c:v>-9.7754944524874876E-4</c:v>
                </c:pt>
                <c:pt idx="1637">
                  <c:v>-1.3006906869039714E-4</c:v>
                </c:pt>
                <c:pt idx="1638">
                  <c:v>-1.306589712915307E-3</c:v>
                </c:pt>
                <c:pt idx="1639">
                  <c:v>-4.8592335198036629E-3</c:v>
                </c:pt>
                <c:pt idx="1640">
                  <c:v>-9.4706566361394406E-3</c:v>
                </c:pt>
                <c:pt idx="1641">
                  <c:v>-1.840096294822724E-2</c:v>
                </c:pt>
                <c:pt idx="1642">
                  <c:v>-2.5384387746763659E-2</c:v>
                </c:pt>
                <c:pt idx="1643">
                  <c:v>-2.943977336270609E-2</c:v>
                </c:pt>
                <c:pt idx="1644">
                  <c:v>-3.5912038467655893E-2</c:v>
                </c:pt>
                <c:pt idx="1645">
                  <c:v>-5.1642498163092299E-2</c:v>
                </c:pt>
                <c:pt idx="1646">
                  <c:v>-5.4015444955337943E-2</c:v>
                </c:pt>
                <c:pt idx="1647">
                  <c:v>-6.2273219809054647E-2</c:v>
                </c:pt>
                <c:pt idx="1648">
                  <c:v>-6.182487360404143E-2</c:v>
                </c:pt>
                <c:pt idx="1649">
                  <c:v>-6.2433548311839004E-2</c:v>
                </c:pt>
                <c:pt idx="1650">
                  <c:v>-6.5091929113817448E-2</c:v>
                </c:pt>
                <c:pt idx="1651">
                  <c:v>-7.4589089366326466E-2</c:v>
                </c:pt>
                <c:pt idx="1652">
                  <c:v>-7.958172099780203E-2</c:v>
                </c:pt>
                <c:pt idx="1653">
                  <c:v>-7.4154328368211675E-2</c:v>
                </c:pt>
                <c:pt idx="1654">
                  <c:v>-6.5470391080478585E-2</c:v>
                </c:pt>
                <c:pt idx="1655">
                  <c:v>-6.768459122145698E-2</c:v>
                </c:pt>
                <c:pt idx="1656">
                  <c:v>-5.277809535403255E-2</c:v>
                </c:pt>
                <c:pt idx="1657">
                  <c:v>-5.2712033083706755E-2</c:v>
                </c:pt>
                <c:pt idx="1658">
                  <c:v>-4.6405597521636976E-2</c:v>
                </c:pt>
                <c:pt idx="1659">
                  <c:v>-4.735327313226867E-2</c:v>
                </c:pt>
                <c:pt idx="1660">
                  <c:v>-4.979181863208304E-2</c:v>
                </c:pt>
                <c:pt idx="1661">
                  <c:v>-4.5684087545678542E-2</c:v>
                </c:pt>
                <c:pt idx="1662">
                  <c:v>-5.0120645546155695E-2</c:v>
                </c:pt>
                <c:pt idx="1663">
                  <c:v>-4.9802626067432576E-2</c:v>
                </c:pt>
                <c:pt idx="1664">
                  <c:v>-4.4092791389829245E-2</c:v>
                </c:pt>
                <c:pt idx="1665">
                  <c:v>-5.1254146476595319E-2</c:v>
                </c:pt>
                <c:pt idx="1666">
                  <c:v>-4.2449734075798662E-2</c:v>
                </c:pt>
                <c:pt idx="1667">
                  <c:v>-4.6130694592047883E-2</c:v>
                </c:pt>
                <c:pt idx="1668">
                  <c:v>-4.1741881697714422E-2</c:v>
                </c:pt>
                <c:pt idx="1669">
                  <c:v>-4.4142324437061897E-2</c:v>
                </c:pt>
                <c:pt idx="1670">
                  <c:v>-4.2796203341636585E-2</c:v>
                </c:pt>
                <c:pt idx="1671">
                  <c:v>-4.9470732504188875E-2</c:v>
                </c:pt>
                <c:pt idx="1672">
                  <c:v>-4.8448787330361842E-2</c:v>
                </c:pt>
                <c:pt idx="1673">
                  <c:v>-5.2418883628007507E-2</c:v>
                </c:pt>
                <c:pt idx="1674">
                  <c:v>-4.9122385428777005E-2</c:v>
                </c:pt>
                <c:pt idx="1675">
                  <c:v>-3.3955421098329164E-2</c:v>
                </c:pt>
                <c:pt idx="1676">
                  <c:v>-3.0424381377154641E-2</c:v>
                </c:pt>
                <c:pt idx="1677">
                  <c:v>-2.8680180607907668E-2</c:v>
                </c:pt>
                <c:pt idx="1678">
                  <c:v>-2.3179303257668926E-2</c:v>
                </c:pt>
                <c:pt idx="1679">
                  <c:v>-2.025566705496995E-2</c:v>
                </c:pt>
                <c:pt idx="1680">
                  <c:v>-1.8741961001622953E-2</c:v>
                </c:pt>
                <c:pt idx="1681">
                  <c:v>-1.0498618470284549E-2</c:v>
                </c:pt>
                <c:pt idx="1682">
                  <c:v>-8.2597348046096197E-3</c:v>
                </c:pt>
                <c:pt idx="1683">
                  <c:v>-5.3256835402188951E-3</c:v>
                </c:pt>
                <c:pt idx="1684">
                  <c:v>-7.6445233086424036E-3</c:v>
                </c:pt>
                <c:pt idx="1685">
                  <c:v>-1.8416750664745796E-2</c:v>
                </c:pt>
                <c:pt idx="1686">
                  <c:v>-2.4837037680852103E-2</c:v>
                </c:pt>
                <c:pt idx="1687">
                  <c:v>-2.4524258668499277E-2</c:v>
                </c:pt>
                <c:pt idx="1688">
                  <c:v>-2.6176241212623852E-2</c:v>
                </c:pt>
                <c:pt idx="1689">
                  <c:v>-3.3509087908912494E-2</c:v>
                </c:pt>
                <c:pt idx="1690">
                  <c:v>-2.8781323685957205E-2</c:v>
                </c:pt>
                <c:pt idx="1691">
                  <c:v>-2.6615351827661615E-2</c:v>
                </c:pt>
                <c:pt idx="1692">
                  <c:v>-3.4385941764276007E-2</c:v>
                </c:pt>
                <c:pt idx="1693">
                  <c:v>-3.1770444272267495E-2</c:v>
                </c:pt>
                <c:pt idx="1694">
                  <c:v>-2.786661944200941E-2</c:v>
                </c:pt>
                <c:pt idx="1695">
                  <c:v>-2.7299616401021631E-2</c:v>
                </c:pt>
                <c:pt idx="1696">
                  <c:v>-2.4774004560069063E-2</c:v>
                </c:pt>
                <c:pt idx="1697">
                  <c:v>-2.3253114054592516E-2</c:v>
                </c:pt>
                <c:pt idx="1698">
                  <c:v>-2.3773305567648895E-2</c:v>
                </c:pt>
                <c:pt idx="1699">
                  <c:v>-2.5082533806626395E-2</c:v>
                </c:pt>
                <c:pt idx="1700">
                  <c:v>2.1082911839881091E-2</c:v>
                </c:pt>
                <c:pt idx="1701">
                  <c:v>-1.9985904510396169E-2</c:v>
                </c:pt>
                <c:pt idx="1702">
                  <c:v>-1.028727229668791E-2</c:v>
                </c:pt>
                <c:pt idx="1703">
                  <c:v>8.6114784708910541E-3</c:v>
                </c:pt>
                <c:pt idx="1704">
                  <c:v>4.412005641844341E-2</c:v>
                </c:pt>
                <c:pt idx="1705">
                  <c:v>2.2708155603533342E-2</c:v>
                </c:pt>
                <c:pt idx="1706">
                  <c:v>3.2327818701183952E-2</c:v>
                </c:pt>
                <c:pt idx="1707">
                  <c:v>3.2712052852048368E-2</c:v>
                </c:pt>
                <c:pt idx="1708">
                  <c:v>6.5702092926507194E-2</c:v>
                </c:pt>
                <c:pt idx="1709">
                  <c:v>7.2496886064542077E-2</c:v>
                </c:pt>
                <c:pt idx="1710">
                  <c:v>7.1036604780252532E-2</c:v>
                </c:pt>
                <c:pt idx="1711">
                  <c:v>7.1452489691093302E-2</c:v>
                </c:pt>
                <c:pt idx="1712">
                  <c:v>0.10577222078031823</c:v>
                </c:pt>
                <c:pt idx="1713">
                  <c:v>0.10715121270182115</c:v>
                </c:pt>
                <c:pt idx="1714">
                  <c:v>0.12300357689579233</c:v>
                </c:pt>
                <c:pt idx="1715">
                  <c:v>0.12885779441617118</c:v>
                </c:pt>
                <c:pt idx="1716">
                  <c:v>0.12310894778349024</c:v>
                </c:pt>
                <c:pt idx="1717">
                  <c:v>0.11967408012074243</c:v>
                </c:pt>
                <c:pt idx="1718">
                  <c:v>0.11930426541617933</c:v>
                </c:pt>
                <c:pt idx="1719">
                  <c:v>0.1006962584703297</c:v>
                </c:pt>
                <c:pt idx="1720">
                  <c:v>0.10176473091488236</c:v>
                </c:pt>
                <c:pt idx="1721">
                  <c:v>0.10057162671218223</c:v>
                </c:pt>
                <c:pt idx="1722">
                  <c:v>7.8602249614914133E-2</c:v>
                </c:pt>
                <c:pt idx="1723">
                  <c:v>0.1079956944848508</c:v>
                </c:pt>
                <c:pt idx="1724">
                  <c:v>0.10698837483505241</c:v>
                </c:pt>
                <c:pt idx="1725">
                  <c:v>0.11517233638987534</c:v>
                </c:pt>
                <c:pt idx="1726">
                  <c:v>8.4668347449681769E-2</c:v>
                </c:pt>
                <c:pt idx="1727">
                  <c:v>7.7077390486542163E-2</c:v>
                </c:pt>
                <c:pt idx="1728">
                  <c:v>7.6692812317399439E-2</c:v>
                </c:pt>
                <c:pt idx="1729">
                  <c:v>3.9602302063506234E-2</c:v>
                </c:pt>
                <c:pt idx="1730">
                  <c:v>3.2290554900421875E-2</c:v>
                </c:pt>
                <c:pt idx="1731">
                  <c:v>2.4155854321538994E-2</c:v>
                </c:pt>
                <c:pt idx="1732">
                  <c:v>2.5632296555581358E-2</c:v>
                </c:pt>
                <c:pt idx="1733">
                  <c:v>4.4705307797514582E-3</c:v>
                </c:pt>
                <c:pt idx="1734">
                  <c:v>3.5891959428962394E-2</c:v>
                </c:pt>
                <c:pt idx="1735">
                  <c:v>5.8615761933104915E-2</c:v>
                </c:pt>
                <c:pt idx="1736">
                  <c:v>4.9889543713853013E-2</c:v>
                </c:pt>
                <c:pt idx="1737">
                  <c:v>2.373798436533392E-2</c:v>
                </c:pt>
                <c:pt idx="1738">
                  <c:v>1.3243730336962134E-2</c:v>
                </c:pt>
                <c:pt idx="1739">
                  <c:v>9.8445539209442989E-3</c:v>
                </c:pt>
                <c:pt idx="1740">
                  <c:v>1.8898005234583959E-2</c:v>
                </c:pt>
                <c:pt idx="1741">
                  <c:v>7.7417399884398552E-3</c:v>
                </c:pt>
                <c:pt idx="1742">
                  <c:v>9.9722216581267231E-3</c:v>
                </c:pt>
                <c:pt idx="1743">
                  <c:v>-4.2463539022296604E-2</c:v>
                </c:pt>
                <c:pt idx="1744">
                  <c:v>-3.2613109055107392E-2</c:v>
                </c:pt>
                <c:pt idx="1745">
                  <c:v>-1.2787056599675051E-2</c:v>
                </c:pt>
                <c:pt idx="1746">
                  <c:v>-1.8168460884580018E-3</c:v>
                </c:pt>
                <c:pt idx="1747">
                  <c:v>-4.402726289724157E-3</c:v>
                </c:pt>
                <c:pt idx="1748">
                  <c:v>1.8346788456932273E-2</c:v>
                </c:pt>
                <c:pt idx="1749">
                  <c:v>2.7861784289634373E-2</c:v>
                </c:pt>
                <c:pt idx="1750">
                  <c:v>4.3860782957812705E-2</c:v>
                </c:pt>
                <c:pt idx="1751">
                  <c:v>4.4122358044462073E-2</c:v>
                </c:pt>
                <c:pt idx="1752">
                  <c:v>5.4920875173995243E-2</c:v>
                </c:pt>
                <c:pt idx="1753">
                  <c:v>5.2401737198551013E-2</c:v>
                </c:pt>
                <c:pt idx="1754">
                  <c:v>5.4427108962584736E-2</c:v>
                </c:pt>
                <c:pt idx="1755">
                  <c:v>5.3376872977611622E-2</c:v>
                </c:pt>
                <c:pt idx="1756">
                  <c:v>5.9629866257468134E-2</c:v>
                </c:pt>
                <c:pt idx="1757">
                  <c:v>3.1491222587872403E-2</c:v>
                </c:pt>
                <c:pt idx="1758">
                  <c:v>1.8596268480576383E-2</c:v>
                </c:pt>
                <c:pt idx="1759">
                  <c:v>-1.1976581373744244E-2</c:v>
                </c:pt>
                <c:pt idx="1760">
                  <c:v>6.2701654428138909E-3</c:v>
                </c:pt>
                <c:pt idx="1761">
                  <c:v>1.4344667204679862E-2</c:v>
                </c:pt>
                <c:pt idx="1762">
                  <c:v>2.3760834010957743E-2</c:v>
                </c:pt>
                <c:pt idx="1763">
                  <c:v>2.2306729484900645E-2</c:v>
                </c:pt>
                <c:pt idx="1764">
                  <c:v>2.4293600931876824E-2</c:v>
                </c:pt>
                <c:pt idx="1765">
                  <c:v>1.0379477271613147E-2</c:v>
                </c:pt>
                <c:pt idx="1766">
                  <c:v>2.6703250968673764E-3</c:v>
                </c:pt>
                <c:pt idx="1767">
                  <c:v>-8.584915797050785E-4</c:v>
                </c:pt>
                <c:pt idx="1768">
                  <c:v>-2.6576693320478073E-2</c:v>
                </c:pt>
                <c:pt idx="1769">
                  <c:v>6.1234266181383612E-3</c:v>
                </c:pt>
                <c:pt idx="1770">
                  <c:v>5.6574280046098879E-3</c:v>
                </c:pt>
                <c:pt idx="1771">
                  <c:v>3.5061078460760675E-2</c:v>
                </c:pt>
                <c:pt idx="1772">
                  <c:v>-1.1061977140211843E-2</c:v>
                </c:pt>
                <c:pt idx="1773">
                  <c:v>-1.4819802706837359E-2</c:v>
                </c:pt>
                <c:pt idx="1774">
                  <c:v>-6.8919023818003744E-3</c:v>
                </c:pt>
                <c:pt idx="1775">
                  <c:v>-1.0274620631664955E-2</c:v>
                </c:pt>
                <c:pt idx="1776">
                  <c:v>2.0748423844740849E-4</c:v>
                </c:pt>
                <c:pt idx="1777">
                  <c:v>-2.3903951777116683E-3</c:v>
                </c:pt>
                <c:pt idx="1778">
                  <c:v>-9.3995869746061889E-3</c:v>
                </c:pt>
                <c:pt idx="1779">
                  <c:v>1.3310918320350917E-2</c:v>
                </c:pt>
                <c:pt idx="1780">
                  <c:v>-5.8020985189164431E-3</c:v>
                </c:pt>
                <c:pt idx="1781">
                  <c:v>-6.7575334309271096E-3</c:v>
                </c:pt>
                <c:pt idx="1782">
                  <c:v>-1.0728571389684416E-2</c:v>
                </c:pt>
                <c:pt idx="1783">
                  <c:v>-1.9242266585033252E-2</c:v>
                </c:pt>
                <c:pt idx="1784">
                  <c:v>-9.4479502512632152E-3</c:v>
                </c:pt>
                <c:pt idx="1785">
                  <c:v>-6.1120904600080461E-3</c:v>
                </c:pt>
                <c:pt idx="1786">
                  <c:v>-5.935190054424111E-3</c:v>
                </c:pt>
                <c:pt idx="1787">
                  <c:v>5.6306924768902977E-3</c:v>
                </c:pt>
                <c:pt idx="1788">
                  <c:v>4.7056585575078191E-3</c:v>
                </c:pt>
                <c:pt idx="1789">
                  <c:v>-5.4593430297508183E-3</c:v>
                </c:pt>
                <c:pt idx="1790">
                  <c:v>1.0410471934163557E-4</c:v>
                </c:pt>
                <c:pt idx="1791">
                  <c:v>-4.5465786038734191E-4</c:v>
                </c:pt>
                <c:pt idx="1792">
                  <c:v>3.16251951887081E-3</c:v>
                </c:pt>
                <c:pt idx="1793">
                  <c:v>1.2484019230630583E-2</c:v>
                </c:pt>
                <c:pt idx="1794">
                  <c:v>2.0093619038146771E-2</c:v>
                </c:pt>
                <c:pt idx="1795">
                  <c:v>1.7428529042861629E-2</c:v>
                </c:pt>
                <c:pt idx="1796">
                  <c:v>6.7182207765308366E-3</c:v>
                </c:pt>
                <c:pt idx="1797">
                  <c:v>1.1736340405864465E-2</c:v>
                </c:pt>
                <c:pt idx="1798">
                  <c:v>9.8933405976550093E-3</c:v>
                </c:pt>
                <c:pt idx="1799">
                  <c:v>1.3233928865193034E-2</c:v>
                </c:pt>
                <c:pt idx="1800">
                  <c:v>5.5262779107744242E-3</c:v>
                </c:pt>
                <c:pt idx="1801">
                  <c:v>3.9075605585930928E-3</c:v>
                </c:pt>
                <c:pt idx="1802">
                  <c:v>9.3147495836277683E-3</c:v>
                </c:pt>
                <c:pt idx="1803">
                  <c:v>1.0532206745868522E-2</c:v>
                </c:pt>
                <c:pt idx="1804">
                  <c:v>2.518602608639342E-3</c:v>
                </c:pt>
                <c:pt idx="1805">
                  <c:v>4.7406662926652299E-3</c:v>
                </c:pt>
                <c:pt idx="1806">
                  <c:v>1.0183952763520576E-4</c:v>
                </c:pt>
                <c:pt idx="1807">
                  <c:v>4.3349469834242926E-3</c:v>
                </c:pt>
                <c:pt idx="1808">
                  <c:v>1.5589850779730963E-2</c:v>
                </c:pt>
                <c:pt idx="1809">
                  <c:v>2.6947048568057852E-3</c:v>
                </c:pt>
                <c:pt idx="1810">
                  <c:v>1.5077118845617909E-2</c:v>
                </c:pt>
                <c:pt idx="1811">
                  <c:v>7.3808550556667685E-3</c:v>
                </c:pt>
                <c:pt idx="1812">
                  <c:v>3.8540395364994318E-3</c:v>
                </c:pt>
                <c:pt idx="1813">
                  <c:v>9.8160273071884463E-3</c:v>
                </c:pt>
                <c:pt idx="1814">
                  <c:v>-1.0590381687894945E-3</c:v>
                </c:pt>
                <c:pt idx="1815">
                  <c:v>-3.571681395888926E-3</c:v>
                </c:pt>
                <c:pt idx="1816">
                  <c:v>-5.5858207640988589E-3</c:v>
                </c:pt>
                <c:pt idx="1817">
                  <c:v>-1.1266914353028401E-2</c:v>
                </c:pt>
                <c:pt idx="1818">
                  <c:v>-1.7721454938554704E-2</c:v>
                </c:pt>
                <c:pt idx="1819">
                  <c:v>-9.3793116923142072E-3</c:v>
                </c:pt>
                <c:pt idx="1820">
                  <c:v>-9.273959680960675E-3</c:v>
                </c:pt>
                <c:pt idx="1821">
                  <c:v>-7.5501227364129786E-3</c:v>
                </c:pt>
                <c:pt idx="1822">
                  <c:v>-3.948871131246201E-3</c:v>
                </c:pt>
                <c:pt idx="1823">
                  <c:v>-1.8156069702259137E-2</c:v>
                </c:pt>
                <c:pt idx="1824">
                  <c:v>-2.0679828770134745E-2</c:v>
                </c:pt>
                <c:pt idx="1825">
                  <c:v>-3.0976328121967933E-2</c:v>
                </c:pt>
                <c:pt idx="1826">
                  <c:v>-2.8999822686694321E-2</c:v>
                </c:pt>
                <c:pt idx="1827">
                  <c:v>-4.0393387520105906E-2</c:v>
                </c:pt>
                <c:pt idx="1828">
                  <c:v>-4.0638136924257329E-2</c:v>
                </c:pt>
                <c:pt idx="1829">
                  <c:v>-4.187872637088963E-2</c:v>
                </c:pt>
                <c:pt idx="1830">
                  <c:v>-3.535873335036277E-2</c:v>
                </c:pt>
                <c:pt idx="1831">
                  <c:v>-3.4668216228726734E-2</c:v>
                </c:pt>
                <c:pt idx="1832">
                  <c:v>-3.7715353568377852E-2</c:v>
                </c:pt>
                <c:pt idx="1833">
                  <c:v>-4.097347358177128E-2</c:v>
                </c:pt>
                <c:pt idx="1834">
                  <c:v>-3.4357063017762646E-2</c:v>
                </c:pt>
                <c:pt idx="1835">
                  <c:v>-4.2138597263536082E-2</c:v>
                </c:pt>
                <c:pt idx="1836">
                  <c:v>-4.2330142427991935E-2</c:v>
                </c:pt>
                <c:pt idx="1837">
                  <c:v>-4.3555206683309144E-2</c:v>
                </c:pt>
                <c:pt idx="1838">
                  <c:v>-4.6787697553245633E-2</c:v>
                </c:pt>
                <c:pt idx="1839">
                  <c:v>-4.7116979155745975E-2</c:v>
                </c:pt>
                <c:pt idx="1840">
                  <c:v>-5.5528655031898966E-2</c:v>
                </c:pt>
                <c:pt idx="1841">
                  <c:v>-4.1697050706556715E-2</c:v>
                </c:pt>
                <c:pt idx="1842">
                  <c:v>-3.4239929573157246E-2</c:v>
                </c:pt>
                <c:pt idx="1843">
                  <c:v>-3.3582668090820667E-2</c:v>
                </c:pt>
                <c:pt idx="1844">
                  <c:v>-2.8469876060229105E-2</c:v>
                </c:pt>
                <c:pt idx="1845">
                  <c:v>-2.953125356778008E-2</c:v>
                </c:pt>
                <c:pt idx="1846">
                  <c:v>-3.0212953916873286E-2</c:v>
                </c:pt>
                <c:pt idx="1847">
                  <c:v>-3.6220641531677811E-2</c:v>
                </c:pt>
                <c:pt idx="1848">
                  <c:v>-2.5784165151343741E-2</c:v>
                </c:pt>
                <c:pt idx="1849">
                  <c:v>-2.3343615440047927E-2</c:v>
                </c:pt>
                <c:pt idx="1850">
                  <c:v>-2.719871010482855E-2</c:v>
                </c:pt>
                <c:pt idx="1851">
                  <c:v>-2.7295571629276094E-2</c:v>
                </c:pt>
                <c:pt idx="1852">
                  <c:v>-2.3868307021658541E-2</c:v>
                </c:pt>
                <c:pt idx="1853">
                  <c:v>-1.5620104781094546E-2</c:v>
                </c:pt>
                <c:pt idx="1854">
                  <c:v>-9.582302179941049E-3</c:v>
                </c:pt>
                <c:pt idx="1855">
                  <c:v>-4.8234669193021329E-3</c:v>
                </c:pt>
                <c:pt idx="1856">
                  <c:v>-2.4624878610187695E-3</c:v>
                </c:pt>
                <c:pt idx="1857">
                  <c:v>3.8738460349787562E-3</c:v>
                </c:pt>
                <c:pt idx="1858">
                  <c:v>1.1092028002498533E-2</c:v>
                </c:pt>
                <c:pt idx="1859">
                  <c:v>2.0882167536996787E-2</c:v>
                </c:pt>
                <c:pt idx="1860">
                  <c:v>1.6389268167793847E-2</c:v>
                </c:pt>
                <c:pt idx="1861">
                  <c:v>1.3482472150915248E-2</c:v>
                </c:pt>
                <c:pt idx="1862">
                  <c:v>2.4576916107610369E-2</c:v>
                </c:pt>
                <c:pt idx="1863">
                  <c:v>2.9972062632913965E-2</c:v>
                </c:pt>
                <c:pt idx="1864">
                  <c:v>3.676718480515595E-2</c:v>
                </c:pt>
                <c:pt idx="1865">
                  <c:v>4.0344069736056642E-2</c:v>
                </c:pt>
                <c:pt idx="1866">
                  <c:v>3.8350065986081483E-2</c:v>
                </c:pt>
                <c:pt idx="1867">
                  <c:v>4.3339924448855593E-2</c:v>
                </c:pt>
                <c:pt idx="1868">
                  <c:v>4.2159423808374674E-2</c:v>
                </c:pt>
                <c:pt idx="1869">
                  <c:v>4.3933891685718263E-2</c:v>
                </c:pt>
                <c:pt idx="1870">
                  <c:v>5.0672333903323041E-2</c:v>
                </c:pt>
                <c:pt idx="1871">
                  <c:v>4.9863450242506491E-2</c:v>
                </c:pt>
                <c:pt idx="1872">
                  <c:v>5.1019153440273635E-2</c:v>
                </c:pt>
                <c:pt idx="1873">
                  <c:v>5.1700378738511521E-2</c:v>
                </c:pt>
                <c:pt idx="1874">
                  <c:v>5.7741789472138039E-2</c:v>
                </c:pt>
                <c:pt idx="1875">
                  <c:v>4.8102457049609249E-2</c:v>
                </c:pt>
                <c:pt idx="1876">
                  <c:v>5.241035245750636E-2</c:v>
                </c:pt>
                <c:pt idx="1877">
                  <c:v>4.9483693082588709E-2</c:v>
                </c:pt>
                <c:pt idx="1878">
                  <c:v>4.8919003526241789E-2</c:v>
                </c:pt>
                <c:pt idx="1879">
                  <c:v>4.3502276613808788E-2</c:v>
                </c:pt>
                <c:pt idx="1880">
                  <c:v>4.6454517525331807E-2</c:v>
                </c:pt>
                <c:pt idx="1881">
                  <c:v>3.588753263118305E-2</c:v>
                </c:pt>
                <c:pt idx="1882">
                  <c:v>3.4872261403401272E-2</c:v>
                </c:pt>
                <c:pt idx="1883">
                  <c:v>3.0308424819459501E-2</c:v>
                </c:pt>
                <c:pt idx="1884">
                  <c:v>3.2003080716216492E-2</c:v>
                </c:pt>
                <c:pt idx="1885">
                  <c:v>3.3827766319966979E-2</c:v>
                </c:pt>
                <c:pt idx="1886">
                  <c:v>3.6070572699777204E-2</c:v>
                </c:pt>
                <c:pt idx="1887">
                  <c:v>3.646249717296246E-2</c:v>
                </c:pt>
                <c:pt idx="1888">
                  <c:v>3.3449023835911307E-2</c:v>
                </c:pt>
                <c:pt idx="1889">
                  <c:v>4.3208941449568661E-2</c:v>
                </c:pt>
                <c:pt idx="1890">
                  <c:v>5.9790438464692119E-2</c:v>
                </c:pt>
                <c:pt idx="1891">
                  <c:v>-9.0919716529447303E-3</c:v>
                </c:pt>
                <c:pt idx="1892">
                  <c:v>-5.8593467739941674E-2</c:v>
                </c:pt>
                <c:pt idx="1893">
                  <c:v>-9.8762503287871839E-2</c:v>
                </c:pt>
                <c:pt idx="1894">
                  <c:v>-0.12251005776370016</c:v>
                </c:pt>
                <c:pt idx="1895">
                  <c:v>-0.13251155766854117</c:v>
                </c:pt>
                <c:pt idx="1896">
                  <c:v>-6.692146673544519E-2</c:v>
                </c:pt>
                <c:pt idx="1897">
                  <c:v>-9.9097064510635269E-2</c:v>
                </c:pt>
                <c:pt idx="1898">
                  <c:v>-0.12020461075146782</c:v>
                </c:pt>
                <c:pt idx="1899">
                  <c:v>-0.1055990488781855</c:v>
                </c:pt>
                <c:pt idx="1900">
                  <c:v>-5.6723591740858725E-2</c:v>
                </c:pt>
                <c:pt idx="1901">
                  <c:v>-6.5438694303775913E-2</c:v>
                </c:pt>
                <c:pt idx="1902">
                  <c:v>-6.1308022664230077E-2</c:v>
                </c:pt>
                <c:pt idx="1903">
                  <c:v>-8.7611294502813797E-2</c:v>
                </c:pt>
                <c:pt idx="1904">
                  <c:v>-9.8944105113757175E-2</c:v>
                </c:pt>
                <c:pt idx="1905">
                  <c:v>-0.10040369102080327</c:v>
                </c:pt>
                <c:pt idx="1906">
                  <c:v>-5.5372221547673295E-2</c:v>
                </c:pt>
                <c:pt idx="1907">
                  <c:v>-4.9262797712951722E-2</c:v>
                </c:pt>
                <c:pt idx="1908">
                  <c:v>-7.5732367493221875E-2</c:v>
                </c:pt>
                <c:pt idx="1909">
                  <c:v>-6.1171281157679447E-2</c:v>
                </c:pt>
                <c:pt idx="1910">
                  <c:v>-6.1207590936441569E-2</c:v>
                </c:pt>
                <c:pt idx="1911">
                  <c:v>-1.5368257725152157E-2</c:v>
                </c:pt>
                <c:pt idx="1912">
                  <c:v>2.6739247841127689E-3</c:v>
                </c:pt>
                <c:pt idx="1913">
                  <c:v>1.5096365781717802E-2</c:v>
                </c:pt>
                <c:pt idx="1914">
                  <c:v>-1.2090188567425164E-3</c:v>
                </c:pt>
                <c:pt idx="1915">
                  <c:v>8.0271124969821805E-4</c:v>
                </c:pt>
                <c:pt idx="1916">
                  <c:v>-1.3309289897316723E-2</c:v>
                </c:pt>
                <c:pt idx="1917">
                  <c:v>1.627017927821417E-2</c:v>
                </c:pt>
                <c:pt idx="1918">
                  <c:v>1.4403819982361288E-2</c:v>
                </c:pt>
                <c:pt idx="1919">
                  <c:v>5.2798012635008273E-2</c:v>
                </c:pt>
                <c:pt idx="1920">
                  <c:v>6.2187336205569932E-2</c:v>
                </c:pt>
                <c:pt idx="1921">
                  <c:v>4.4417686939856427E-2</c:v>
                </c:pt>
                <c:pt idx="1922">
                  <c:v>5.3377495633231631E-2</c:v>
                </c:pt>
                <c:pt idx="1923">
                  <c:v>6.4729843857187219E-2</c:v>
                </c:pt>
                <c:pt idx="1924">
                  <c:v>3.2008165239316377E-2</c:v>
                </c:pt>
                <c:pt idx="1925">
                  <c:v>5.3788390578053513E-2</c:v>
                </c:pt>
                <c:pt idx="1926">
                  <c:v>3.5335275570560154E-2</c:v>
                </c:pt>
                <c:pt idx="1927">
                  <c:v>2.2304228853389896E-2</c:v>
                </c:pt>
                <c:pt idx="1928">
                  <c:v>1.0698367800838993E-2</c:v>
                </c:pt>
                <c:pt idx="1929">
                  <c:v>2.1494067044753873E-2</c:v>
                </c:pt>
                <c:pt idx="1930">
                  <c:v>6.6966526950958949E-3</c:v>
                </c:pt>
                <c:pt idx="1931">
                  <c:v>-5.6971352814690013E-2</c:v>
                </c:pt>
                <c:pt idx="1932">
                  <c:v>-3.0964544957086115E-2</c:v>
                </c:pt>
                <c:pt idx="1933">
                  <c:v>-1.6699826412103214E-2</c:v>
                </c:pt>
                <c:pt idx="1934">
                  <c:v>-1.3065624705385637E-2</c:v>
                </c:pt>
                <c:pt idx="1935">
                  <c:v>-1.9947155607227263E-3</c:v>
                </c:pt>
                <c:pt idx="1936">
                  <c:v>-2.41628193913066E-2</c:v>
                </c:pt>
                <c:pt idx="1937">
                  <c:v>-2.0025830710269088E-2</c:v>
                </c:pt>
                <c:pt idx="1938">
                  <c:v>9.6735690635402216E-3</c:v>
                </c:pt>
                <c:pt idx="1939">
                  <c:v>2.9028502495441089E-2</c:v>
                </c:pt>
                <c:pt idx="1940">
                  <c:v>4.681634742726859E-2</c:v>
                </c:pt>
                <c:pt idx="1941">
                  <c:v>3.9144933861266384E-2</c:v>
                </c:pt>
                <c:pt idx="1942">
                  <c:v>4.0744659960464058E-2</c:v>
                </c:pt>
                <c:pt idx="1943">
                  <c:v>3.4870116696485876E-2</c:v>
                </c:pt>
                <c:pt idx="1944">
                  <c:v>4.1502432775282982E-2</c:v>
                </c:pt>
                <c:pt idx="1945">
                  <c:v>8.0236892400779136E-2</c:v>
                </c:pt>
                <c:pt idx="1946">
                  <c:v>0.11257036748282789</c:v>
                </c:pt>
                <c:pt idx="1947">
                  <c:v>0.13000734399941216</c:v>
                </c:pt>
                <c:pt idx="1948">
                  <c:v>0.14110578659441553</c:v>
                </c:pt>
                <c:pt idx="1949">
                  <c:v>0.10354578208803722</c:v>
                </c:pt>
                <c:pt idx="1950">
                  <c:v>0.10983147103648971</c:v>
                </c:pt>
                <c:pt idx="1951">
                  <c:v>0.11492867451135858</c:v>
                </c:pt>
                <c:pt idx="1952">
                  <c:v>7.4079745529039065E-2</c:v>
                </c:pt>
                <c:pt idx="1953">
                  <c:v>0.11441520422842655</c:v>
                </c:pt>
                <c:pt idx="1954">
                  <c:v>5.2062146774349949E-2</c:v>
                </c:pt>
                <c:pt idx="1955">
                  <c:v>5.6873535817081988E-2</c:v>
                </c:pt>
                <c:pt idx="1956">
                  <c:v>5.1777159419515328E-2</c:v>
                </c:pt>
                <c:pt idx="1957">
                  <c:v>6.9307651720443841E-3</c:v>
                </c:pt>
                <c:pt idx="1958">
                  <c:v>-3.9898921682946065E-2</c:v>
                </c:pt>
                <c:pt idx="1959">
                  <c:v>-8.3176816957404087E-2</c:v>
                </c:pt>
                <c:pt idx="1960">
                  <c:v>-3.4104263870166518E-2</c:v>
                </c:pt>
                <c:pt idx="1961">
                  <c:v>-4.4933389053568584E-3</c:v>
                </c:pt>
                <c:pt idx="1962">
                  <c:v>-3.8105162500612355E-3</c:v>
                </c:pt>
                <c:pt idx="1963">
                  <c:v>-1.484386916552638E-2</c:v>
                </c:pt>
                <c:pt idx="1964">
                  <c:v>-2.3966479433692456E-3</c:v>
                </c:pt>
                <c:pt idx="1965">
                  <c:v>6.0980518773103842E-3</c:v>
                </c:pt>
                <c:pt idx="1966">
                  <c:v>1.1220801770015498E-3</c:v>
                </c:pt>
                <c:pt idx="1967">
                  <c:v>1.0600366942236095E-3</c:v>
                </c:pt>
                <c:pt idx="1968">
                  <c:v>-3.2861027000271603E-3</c:v>
                </c:pt>
                <c:pt idx="1969">
                  <c:v>-3.6941924973155071E-3</c:v>
                </c:pt>
                <c:pt idx="1970">
                  <c:v>-4.4056902044631308E-3</c:v>
                </c:pt>
                <c:pt idx="1971">
                  <c:v>-3.7645768906803267E-3</c:v>
                </c:pt>
                <c:pt idx="1972">
                  <c:v>-1.0235245093010992E-3</c:v>
                </c:pt>
                <c:pt idx="1973">
                  <c:v>-7.5851330274713247E-3</c:v>
                </c:pt>
                <c:pt idx="1974">
                  <c:v>-1.0693468769064518E-2</c:v>
                </c:pt>
                <c:pt idx="1975">
                  <c:v>-2.4013879625425671E-2</c:v>
                </c:pt>
                <c:pt idx="1976">
                  <c:v>-2.0383371939253103E-2</c:v>
                </c:pt>
                <c:pt idx="1977">
                  <c:v>-2.2542771459623134E-2</c:v>
                </c:pt>
                <c:pt idx="1978">
                  <c:v>-2.0970760890722251E-2</c:v>
                </c:pt>
                <c:pt idx="1979">
                  <c:v>-1.7445312399924862E-2</c:v>
                </c:pt>
                <c:pt idx="1980">
                  <c:v>-1.1549099006197272E-2</c:v>
                </c:pt>
                <c:pt idx="1981">
                  <c:v>-1.1899505915706654E-2</c:v>
                </c:pt>
                <c:pt idx="1982">
                  <c:v>-8.537977912383643E-3</c:v>
                </c:pt>
                <c:pt idx="1983">
                  <c:v>-1.2386911806769541E-2</c:v>
                </c:pt>
                <c:pt idx="1984">
                  <c:v>-1.5822919767322086E-3</c:v>
                </c:pt>
                <c:pt idx="1985">
                  <c:v>8.6051472483639202E-5</c:v>
                </c:pt>
                <c:pt idx="1986">
                  <c:v>-1.1720279013561652E-2</c:v>
                </c:pt>
                <c:pt idx="1987">
                  <c:v>-2.6799025780454011E-3</c:v>
                </c:pt>
                <c:pt idx="1988">
                  <c:v>-8.9142364841010568E-4</c:v>
                </c:pt>
                <c:pt idx="1989">
                  <c:v>-2.4889733065784903E-3</c:v>
                </c:pt>
                <c:pt idx="1990">
                  <c:v>2.3594266324225011E-3</c:v>
                </c:pt>
                <c:pt idx="1991">
                  <c:v>2.8304610039578959E-3</c:v>
                </c:pt>
                <c:pt idx="1992">
                  <c:v>-1.2455787050763556E-3</c:v>
                </c:pt>
                <c:pt idx="1993">
                  <c:v>6.9322091138497299E-3</c:v>
                </c:pt>
                <c:pt idx="1994">
                  <c:v>-6.2902704027417711E-3</c:v>
                </c:pt>
                <c:pt idx="1995">
                  <c:v>-1.592135725194288E-2</c:v>
                </c:pt>
                <c:pt idx="1996">
                  <c:v>-1.1545376366691729E-2</c:v>
                </c:pt>
                <c:pt idx="1997">
                  <c:v>-3.761467937829388E-3</c:v>
                </c:pt>
                <c:pt idx="1998">
                  <c:v>-5.7040708123525796E-3</c:v>
                </c:pt>
                <c:pt idx="1999">
                  <c:v>-1.4320776250521083E-2</c:v>
                </c:pt>
                <c:pt idx="2000">
                  <c:v>-1.718463792571967E-2</c:v>
                </c:pt>
                <c:pt idx="2001">
                  <c:v>-2.1865389529849732E-2</c:v>
                </c:pt>
                <c:pt idx="2002">
                  <c:v>-2.2168294060365246E-2</c:v>
                </c:pt>
                <c:pt idx="2003">
                  <c:v>-1.4844708464887835E-2</c:v>
                </c:pt>
                <c:pt idx="2004">
                  <c:v>-1.2226330335628144E-2</c:v>
                </c:pt>
                <c:pt idx="2005">
                  <c:v>-5.1481564030819715E-3</c:v>
                </c:pt>
                <c:pt idx="2006">
                  <c:v>-3.1931021752069633E-3</c:v>
                </c:pt>
                <c:pt idx="2007">
                  <c:v>-5.8982014662067872E-4</c:v>
                </c:pt>
                <c:pt idx="2008">
                  <c:v>-1.1853498711503763E-3</c:v>
                </c:pt>
                <c:pt idx="2009">
                  <c:v>-2.1785142020921411E-3</c:v>
                </c:pt>
                <c:pt idx="2010">
                  <c:v>-4.6204001732537137E-3</c:v>
                </c:pt>
                <c:pt idx="2011">
                  <c:v>4.3882397065986289E-5</c:v>
                </c:pt>
                <c:pt idx="2012">
                  <c:v>3.7895006146204668E-4</c:v>
                </c:pt>
                <c:pt idx="2013">
                  <c:v>6.9522567111752753E-3</c:v>
                </c:pt>
                <c:pt idx="2014">
                  <c:v>1.0183544190475957E-2</c:v>
                </c:pt>
                <c:pt idx="2015">
                  <c:v>1.0162333196577333E-2</c:v>
                </c:pt>
                <c:pt idx="2016">
                  <c:v>2.0806129143105534E-2</c:v>
                </c:pt>
                <c:pt idx="2017">
                  <c:v>2.9149367464441189E-2</c:v>
                </c:pt>
                <c:pt idx="2018">
                  <c:v>3.0195818315592038E-2</c:v>
                </c:pt>
                <c:pt idx="2019">
                  <c:v>3.1276653817718492E-2</c:v>
                </c:pt>
                <c:pt idx="2020">
                  <c:v>2.2609921914031439E-2</c:v>
                </c:pt>
                <c:pt idx="2021">
                  <c:v>2.6187899150974636E-2</c:v>
                </c:pt>
                <c:pt idx="2022">
                  <c:v>2.3241171029335761E-2</c:v>
                </c:pt>
                <c:pt idx="2023">
                  <c:v>6.4803849768677591E-3</c:v>
                </c:pt>
                <c:pt idx="2024">
                  <c:v>2.4037600100588308E-2</c:v>
                </c:pt>
                <c:pt idx="2025">
                  <c:v>3.0619239824765887E-2</c:v>
                </c:pt>
                <c:pt idx="2026">
                  <c:v>3.3025958389406807E-2</c:v>
                </c:pt>
                <c:pt idx="2027">
                  <c:v>1.6389117203424841E-2</c:v>
                </c:pt>
                <c:pt idx="2028">
                  <c:v>2.2729584429151628E-2</c:v>
                </c:pt>
                <c:pt idx="2029">
                  <c:v>3.5209518828433373E-2</c:v>
                </c:pt>
                <c:pt idx="2030">
                  <c:v>4.0447925802930551E-2</c:v>
                </c:pt>
                <c:pt idx="2031">
                  <c:v>3.8923013483042834E-2</c:v>
                </c:pt>
                <c:pt idx="2032">
                  <c:v>3.3555885199488489E-2</c:v>
                </c:pt>
                <c:pt idx="2033">
                  <c:v>2.856450247107345E-2</c:v>
                </c:pt>
                <c:pt idx="2034">
                  <c:v>1.4443676967424102E-2</c:v>
                </c:pt>
                <c:pt idx="2035">
                  <c:v>2.1628243211003872E-2</c:v>
                </c:pt>
                <c:pt idx="2036">
                  <c:v>1.5211393563940412E-2</c:v>
                </c:pt>
                <c:pt idx="2037">
                  <c:v>-1.7335603337280681E-3</c:v>
                </c:pt>
                <c:pt idx="2038">
                  <c:v>7.4453591686052256E-4</c:v>
                </c:pt>
                <c:pt idx="2039">
                  <c:v>-4.3587225996971624E-3</c:v>
                </c:pt>
                <c:pt idx="2040">
                  <c:v>-7.9332245400803858E-3</c:v>
                </c:pt>
                <c:pt idx="2041">
                  <c:v>-8.2082845400249793E-3</c:v>
                </c:pt>
                <c:pt idx="2042">
                  <c:v>-7.2927447126568401E-3</c:v>
                </c:pt>
                <c:pt idx="2043">
                  <c:v>-8.5859788624782496E-3</c:v>
                </c:pt>
                <c:pt idx="2044">
                  <c:v>-8.1665744734820134E-3</c:v>
                </c:pt>
                <c:pt idx="2045">
                  <c:v>-3.9379676837870692E-3</c:v>
                </c:pt>
                <c:pt idx="2046">
                  <c:v>-1.2967536037256422E-2</c:v>
                </c:pt>
                <c:pt idx="2047">
                  <c:v>-1.6570045480432949E-2</c:v>
                </c:pt>
                <c:pt idx="2048">
                  <c:v>-1.6059751426278912E-2</c:v>
                </c:pt>
                <c:pt idx="2049">
                  <c:v>-1.2207021424041398E-2</c:v>
                </c:pt>
                <c:pt idx="2050">
                  <c:v>-3.5475844560383107E-3</c:v>
                </c:pt>
                <c:pt idx="2051">
                  <c:v>-7.2597571075968537E-3</c:v>
                </c:pt>
                <c:pt idx="2052">
                  <c:v>-5.9552146213366353E-3</c:v>
                </c:pt>
                <c:pt idx="2053">
                  <c:v>3.2916651732460833E-3</c:v>
                </c:pt>
                <c:pt idx="2054">
                  <c:v>2.6382415384069713E-3</c:v>
                </c:pt>
                <c:pt idx="2055">
                  <c:v>2.2685269493296634E-3</c:v>
                </c:pt>
                <c:pt idx="2056">
                  <c:v>-4.342760520422595E-3</c:v>
                </c:pt>
                <c:pt idx="2057">
                  <c:v>1.781918188677567E-3</c:v>
                </c:pt>
                <c:pt idx="2058">
                  <c:v>-3.6473955937370572E-3</c:v>
                </c:pt>
                <c:pt idx="2059">
                  <c:v>-5.4805272418936291E-3</c:v>
                </c:pt>
                <c:pt idx="2060">
                  <c:v>-4.2868283569328369E-3</c:v>
                </c:pt>
                <c:pt idx="2061">
                  <c:v>-3.1146484406091579E-3</c:v>
                </c:pt>
                <c:pt idx="2062">
                  <c:v>-6.0284835555791672E-3</c:v>
                </c:pt>
                <c:pt idx="2063">
                  <c:v>-7.4679511916029284E-3</c:v>
                </c:pt>
                <c:pt idx="2064">
                  <c:v>4.6148516332036316E-3</c:v>
                </c:pt>
                <c:pt idx="2065">
                  <c:v>5.1069184593313111E-3</c:v>
                </c:pt>
                <c:pt idx="2066">
                  <c:v>3.7040998987992735E-3</c:v>
                </c:pt>
                <c:pt idx="2067">
                  <c:v>1.6419735381894562E-2</c:v>
                </c:pt>
                <c:pt idx="2068">
                  <c:v>5.67471317641699E-3</c:v>
                </c:pt>
                <c:pt idx="2069">
                  <c:v>9.848172377751041E-3</c:v>
                </c:pt>
                <c:pt idx="2070">
                  <c:v>1.0215365749971839E-2</c:v>
                </c:pt>
                <c:pt idx="2071">
                  <c:v>4.0127972330828987E-3</c:v>
                </c:pt>
                <c:pt idx="2072">
                  <c:v>-8.7900687783336595E-3</c:v>
                </c:pt>
                <c:pt idx="2073">
                  <c:v>6.014090014222484E-4</c:v>
                </c:pt>
                <c:pt idx="2074">
                  <c:v>-2.4640400481112934E-6</c:v>
                </c:pt>
                <c:pt idx="2075">
                  <c:v>-2.0629042106014683E-2</c:v>
                </c:pt>
                <c:pt idx="2076">
                  <c:v>-3.2501288844264398E-3</c:v>
                </c:pt>
                <c:pt idx="2077">
                  <c:v>-4.4047370652917639E-3</c:v>
                </c:pt>
                <c:pt idx="2078">
                  <c:v>-8.1620009373147839E-3</c:v>
                </c:pt>
                <c:pt idx="2079">
                  <c:v>-1.3797209827479118E-2</c:v>
                </c:pt>
                <c:pt idx="2080">
                  <c:v>-2.389712708815217E-2</c:v>
                </c:pt>
                <c:pt idx="2081">
                  <c:v>-4.0704915257007035E-2</c:v>
                </c:pt>
                <c:pt idx="2082">
                  <c:v>-3.9651614337317564E-2</c:v>
                </c:pt>
                <c:pt idx="2083">
                  <c:v>-3.9246856311193734E-2</c:v>
                </c:pt>
                <c:pt idx="2084">
                  <c:v>-4.6069190562311402E-2</c:v>
                </c:pt>
                <c:pt idx="2085">
                  <c:v>-4.6326950923390786E-2</c:v>
                </c:pt>
                <c:pt idx="2086">
                  <c:v>-4.5754324778763511E-2</c:v>
                </c:pt>
                <c:pt idx="2087">
                  <c:v>-4.3852966887162115E-2</c:v>
                </c:pt>
                <c:pt idx="2088">
                  <c:v>-4.5367628811783023E-2</c:v>
                </c:pt>
                <c:pt idx="2089">
                  <c:v>-3.9399403026055935E-2</c:v>
                </c:pt>
                <c:pt idx="2090">
                  <c:v>-3.752164194609664E-2</c:v>
                </c:pt>
                <c:pt idx="2091">
                  <c:v>-5.1763898217186743E-2</c:v>
                </c:pt>
                <c:pt idx="2092">
                  <c:v>-5.1977934250424074E-2</c:v>
                </c:pt>
                <c:pt idx="2093">
                  <c:v>-4.8643597345314538E-2</c:v>
                </c:pt>
                <c:pt idx="2094">
                  <c:v>-3.9828706426218052E-2</c:v>
                </c:pt>
                <c:pt idx="2095">
                  <c:v>-3.9995021562905575E-2</c:v>
                </c:pt>
                <c:pt idx="2096">
                  <c:v>-4.0618359184660169E-2</c:v>
                </c:pt>
                <c:pt idx="2097">
                  <c:v>-3.8826321409012543E-2</c:v>
                </c:pt>
                <c:pt idx="2098">
                  <c:v>-3.403347697124226E-2</c:v>
                </c:pt>
                <c:pt idx="2099">
                  <c:v>-3.9260812820659297E-2</c:v>
                </c:pt>
                <c:pt idx="2100">
                  <c:v>-3.2498602058676274E-2</c:v>
                </c:pt>
                <c:pt idx="2101">
                  <c:v>-2.82520559353997E-2</c:v>
                </c:pt>
                <c:pt idx="2102">
                  <c:v>-1.6741160422336643E-2</c:v>
                </c:pt>
                <c:pt idx="2103">
                  <c:v>-1.1924364908863505E-2</c:v>
                </c:pt>
                <c:pt idx="2104">
                  <c:v>-8.2478836892564411E-3</c:v>
                </c:pt>
                <c:pt idx="2105">
                  <c:v>6.7026670577602365E-3</c:v>
                </c:pt>
                <c:pt idx="2106">
                  <c:v>1.3257099419009655E-2</c:v>
                </c:pt>
                <c:pt idx="2107">
                  <c:v>1.2757353716075226E-2</c:v>
                </c:pt>
                <c:pt idx="2108">
                  <c:v>1.9011434802371774E-2</c:v>
                </c:pt>
                <c:pt idx="2109">
                  <c:v>1.9701138115030492E-2</c:v>
                </c:pt>
                <c:pt idx="2110">
                  <c:v>2.53039841768814E-2</c:v>
                </c:pt>
                <c:pt idx="2111">
                  <c:v>3.8756590645481315E-2</c:v>
                </c:pt>
                <c:pt idx="2112">
                  <c:v>4.0270598803310076E-2</c:v>
                </c:pt>
                <c:pt idx="2113">
                  <c:v>4.5820918388394971E-2</c:v>
                </c:pt>
                <c:pt idx="2114">
                  <c:v>4.7016708380605565E-2</c:v>
                </c:pt>
                <c:pt idx="2115">
                  <c:v>3.8794646095792418E-2</c:v>
                </c:pt>
                <c:pt idx="2116">
                  <c:v>4.6727286288189229E-2</c:v>
                </c:pt>
                <c:pt idx="2117">
                  <c:v>4.4908924699161967E-2</c:v>
                </c:pt>
                <c:pt idx="2118">
                  <c:v>4.2600096928325892E-2</c:v>
                </c:pt>
                <c:pt idx="2119">
                  <c:v>4.6476548479195134E-2</c:v>
                </c:pt>
                <c:pt idx="2120">
                  <c:v>4.6004754556624228E-2</c:v>
                </c:pt>
                <c:pt idx="2121">
                  <c:v>3.6454567696541873E-2</c:v>
                </c:pt>
                <c:pt idx="2122">
                  <c:v>3.9063284759479511E-2</c:v>
                </c:pt>
                <c:pt idx="2123">
                  <c:v>2.9294852596181031E-2</c:v>
                </c:pt>
                <c:pt idx="2124">
                  <c:v>2.2276107083830432E-2</c:v>
                </c:pt>
                <c:pt idx="2125">
                  <c:v>1.5245035384715E-2</c:v>
                </c:pt>
                <c:pt idx="2126">
                  <c:v>2.0552554625283492E-2</c:v>
                </c:pt>
                <c:pt idx="2127">
                  <c:v>1.7396506530632849E-2</c:v>
                </c:pt>
                <c:pt idx="2128">
                  <c:v>2.3943444305390305E-2</c:v>
                </c:pt>
                <c:pt idx="2129">
                  <c:v>2.1155424148944668E-2</c:v>
                </c:pt>
                <c:pt idx="2130">
                  <c:v>2.5008643485017301E-2</c:v>
                </c:pt>
                <c:pt idx="2131">
                  <c:v>2.1434387680140943E-2</c:v>
                </c:pt>
                <c:pt idx="2132">
                  <c:v>1.8271160510313078E-2</c:v>
                </c:pt>
                <c:pt idx="2133">
                  <c:v>8.0694900202886721E-3</c:v>
                </c:pt>
                <c:pt idx="2134">
                  <c:v>8.9693434034828767E-3</c:v>
                </c:pt>
                <c:pt idx="2135">
                  <c:v>9.1290717157119783E-3</c:v>
                </c:pt>
                <c:pt idx="2136">
                  <c:v>7.7163475563046813E-3</c:v>
                </c:pt>
                <c:pt idx="2137">
                  <c:v>-1.5230713212378566E-3</c:v>
                </c:pt>
                <c:pt idx="2138">
                  <c:v>-1.318759241195766E-2</c:v>
                </c:pt>
                <c:pt idx="2139">
                  <c:v>-1.8996134047260305E-2</c:v>
                </c:pt>
                <c:pt idx="2140">
                  <c:v>-3.430911581784335E-2</c:v>
                </c:pt>
                <c:pt idx="2141">
                  <c:v>-3.0928414639795676E-2</c:v>
                </c:pt>
                <c:pt idx="2142">
                  <c:v>-4.0589965427714314E-2</c:v>
                </c:pt>
                <c:pt idx="2143">
                  <c:v>-4.9033471023700259E-2</c:v>
                </c:pt>
                <c:pt idx="2144">
                  <c:v>-5.6274100454481113E-2</c:v>
                </c:pt>
                <c:pt idx="2145">
                  <c:v>-6.0835640364010901E-2</c:v>
                </c:pt>
                <c:pt idx="2146">
                  <c:v>-5.6662049340369114E-2</c:v>
                </c:pt>
                <c:pt idx="2147">
                  <c:v>-5.7015297157214873E-2</c:v>
                </c:pt>
                <c:pt idx="2148">
                  <c:v>-5.7940918382445417E-2</c:v>
                </c:pt>
                <c:pt idx="2149">
                  <c:v>-5.7191764486358321E-2</c:v>
                </c:pt>
                <c:pt idx="2150">
                  <c:v>-5.8453269940254571E-2</c:v>
                </c:pt>
                <c:pt idx="2151">
                  <c:v>-4.7084349026649819E-2</c:v>
                </c:pt>
                <c:pt idx="2152">
                  <c:v>-5.3434840103476433E-2</c:v>
                </c:pt>
                <c:pt idx="2153">
                  <c:v>-4.4175283281534528E-2</c:v>
                </c:pt>
                <c:pt idx="2154">
                  <c:v>-4.9554029383117149E-2</c:v>
                </c:pt>
                <c:pt idx="2155">
                  <c:v>-3.4965130732992455E-2</c:v>
                </c:pt>
                <c:pt idx="2156">
                  <c:v>-3.1647526434440243E-2</c:v>
                </c:pt>
                <c:pt idx="2157">
                  <c:v>-3.602076973847157E-2</c:v>
                </c:pt>
                <c:pt idx="2158">
                  <c:v>-4.3540585238892149E-2</c:v>
                </c:pt>
                <c:pt idx="2159">
                  <c:v>-3.4153029087670039E-2</c:v>
                </c:pt>
                <c:pt idx="2160">
                  <c:v>-3.7963868776117127E-2</c:v>
                </c:pt>
                <c:pt idx="2161">
                  <c:v>-3.3616866658357059E-2</c:v>
                </c:pt>
                <c:pt idx="2162">
                  <c:v>-3.6536575788045145E-2</c:v>
                </c:pt>
                <c:pt idx="2163">
                  <c:v>-3.3438658852446457E-2</c:v>
                </c:pt>
                <c:pt idx="2164">
                  <c:v>-3.0761669108317791E-2</c:v>
                </c:pt>
                <c:pt idx="2165">
                  <c:v>-2.9697947050045137E-2</c:v>
                </c:pt>
                <c:pt idx="2166">
                  <c:v>-4.0365318332002409E-2</c:v>
                </c:pt>
                <c:pt idx="2167">
                  <c:v>-3.4052395602844121E-2</c:v>
                </c:pt>
                <c:pt idx="2168">
                  <c:v>-2.2676785430076674E-2</c:v>
                </c:pt>
                <c:pt idx="2169">
                  <c:v>-1.3163589630090233E-2</c:v>
                </c:pt>
                <c:pt idx="2170">
                  <c:v>1.0641802234392372E-3</c:v>
                </c:pt>
                <c:pt idx="2171">
                  <c:v>-1.9149446672812598E-3</c:v>
                </c:pt>
                <c:pt idx="2172">
                  <c:v>5.6163570219449621E-3</c:v>
                </c:pt>
                <c:pt idx="2173">
                  <c:v>1.7179694199666584E-2</c:v>
                </c:pt>
                <c:pt idx="2174">
                  <c:v>2.2789464161940387E-2</c:v>
                </c:pt>
                <c:pt idx="2175">
                  <c:v>3.1945020816852465E-2</c:v>
                </c:pt>
                <c:pt idx="2176">
                  <c:v>3.5657587645517408E-2</c:v>
                </c:pt>
                <c:pt idx="2177">
                  <c:v>2.6931497587009079E-2</c:v>
                </c:pt>
                <c:pt idx="2178">
                  <c:v>2.6899454428912839E-2</c:v>
                </c:pt>
                <c:pt idx="2179">
                  <c:v>2.1378750921467904E-2</c:v>
                </c:pt>
                <c:pt idx="2180">
                  <c:v>2.0851011617895043E-2</c:v>
                </c:pt>
                <c:pt idx="2181">
                  <c:v>1.9738073193970584E-2</c:v>
                </c:pt>
                <c:pt idx="2182">
                  <c:v>2.7735686484773314E-2</c:v>
                </c:pt>
                <c:pt idx="2183">
                  <c:v>2.3261329865254421E-2</c:v>
                </c:pt>
                <c:pt idx="2184">
                  <c:v>3.6096827290695521E-2</c:v>
                </c:pt>
                <c:pt idx="2185">
                  <c:v>3.7543717379053709E-2</c:v>
                </c:pt>
                <c:pt idx="2186">
                  <c:v>3.6805152649581729E-2</c:v>
                </c:pt>
                <c:pt idx="2187">
                  <c:v>4.4784098977318054E-2</c:v>
                </c:pt>
                <c:pt idx="2188">
                  <c:v>5.0564608606762484E-2</c:v>
                </c:pt>
                <c:pt idx="2189">
                  <c:v>4.7304392216374502E-2</c:v>
                </c:pt>
                <c:pt idx="2190">
                  <c:v>4.3953433153585353E-2</c:v>
                </c:pt>
                <c:pt idx="2191">
                  <c:v>3.1376952586153584E-2</c:v>
                </c:pt>
                <c:pt idx="2192">
                  <c:v>3.5648063377607953E-2</c:v>
                </c:pt>
                <c:pt idx="2193">
                  <c:v>3.8071525017843055E-2</c:v>
                </c:pt>
                <c:pt idx="2194">
                  <c:v>1.7613576591691049E-2</c:v>
                </c:pt>
                <c:pt idx="2195">
                  <c:v>1.3815143438972388E-2</c:v>
                </c:pt>
                <c:pt idx="2196">
                  <c:v>1.9169133077332257E-2</c:v>
                </c:pt>
                <c:pt idx="2197">
                  <c:v>1.7840943237265372E-2</c:v>
                </c:pt>
                <c:pt idx="2198">
                  <c:v>2.3684266797865616E-2</c:v>
                </c:pt>
                <c:pt idx="2199">
                  <c:v>2.4361186730662787E-2</c:v>
                </c:pt>
                <c:pt idx="2200">
                  <c:v>2.1800602186730411E-2</c:v>
                </c:pt>
                <c:pt idx="2201">
                  <c:v>2.4708410446300122E-2</c:v>
                </c:pt>
                <c:pt idx="2202">
                  <c:v>2.7564378779532661E-2</c:v>
                </c:pt>
                <c:pt idx="2203">
                  <c:v>2.4499716572984997E-2</c:v>
                </c:pt>
                <c:pt idx="2204">
                  <c:v>2.0773803397720614E-2</c:v>
                </c:pt>
                <c:pt idx="2205">
                  <c:v>1.7106985507482242E-2</c:v>
                </c:pt>
                <c:pt idx="2206">
                  <c:v>1.787972224497103E-2</c:v>
                </c:pt>
                <c:pt idx="2207">
                  <c:v>2.7785754001473539E-2</c:v>
                </c:pt>
                <c:pt idx="2208">
                  <c:v>1.4745862620122674E-2</c:v>
                </c:pt>
                <c:pt idx="2209">
                  <c:v>1.7219173974698188E-2</c:v>
                </c:pt>
                <c:pt idx="2210">
                  <c:v>1.7944327244888036E-2</c:v>
                </c:pt>
                <c:pt idx="2211">
                  <c:v>8.9862052061312481E-3</c:v>
                </c:pt>
                <c:pt idx="2212">
                  <c:v>7.7093615020518147E-4</c:v>
                </c:pt>
                <c:pt idx="2213">
                  <c:v>7.6676419238328464E-3</c:v>
                </c:pt>
                <c:pt idx="2214">
                  <c:v>4.3586875597796393E-3</c:v>
                </c:pt>
                <c:pt idx="2215">
                  <c:v>-4.2257178455842315E-3</c:v>
                </c:pt>
                <c:pt idx="2216">
                  <c:v>-1.0536724135240205E-2</c:v>
                </c:pt>
                <c:pt idx="2217">
                  <c:v>-8.4813025463920111E-3</c:v>
                </c:pt>
                <c:pt idx="2218">
                  <c:v>-7.5714036446317134E-4</c:v>
                </c:pt>
                <c:pt idx="2219">
                  <c:v>1.1025563353921797E-2</c:v>
                </c:pt>
                <c:pt idx="2220">
                  <c:v>1.0771283027295353E-2</c:v>
                </c:pt>
                <c:pt idx="2221">
                  <c:v>1.6420557453052931E-2</c:v>
                </c:pt>
                <c:pt idx="2222">
                  <c:v>2.1883217017023782E-2</c:v>
                </c:pt>
                <c:pt idx="2223">
                  <c:v>1.9845482842229312E-2</c:v>
                </c:pt>
                <c:pt idx="2224">
                  <c:v>1.5361271490979211E-2</c:v>
                </c:pt>
                <c:pt idx="2225">
                  <c:v>-3.1155398567121795E-2</c:v>
                </c:pt>
                <c:pt idx="2226">
                  <c:v>-7.5933934777865586E-2</c:v>
                </c:pt>
                <c:pt idx="2227">
                  <c:v>-8.7713025701979142E-2</c:v>
                </c:pt>
                <c:pt idx="2228">
                  <c:v>-6.26681932705202E-2</c:v>
                </c:pt>
                <c:pt idx="2229">
                  <c:v>-9.2996425898135504E-2</c:v>
                </c:pt>
                <c:pt idx="2230">
                  <c:v>-3.3302097241008743E-2</c:v>
                </c:pt>
                <c:pt idx="2231">
                  <c:v>-7.4897837119760613E-3</c:v>
                </c:pt>
                <c:pt idx="2232">
                  <c:v>2.0432582156522106E-2</c:v>
                </c:pt>
                <c:pt idx="2233">
                  <c:v>3.7028497571018892E-2</c:v>
                </c:pt>
                <c:pt idx="2234">
                  <c:v>0.19211340543485345</c:v>
                </c:pt>
                <c:pt idx="2235">
                  <c:v>0.20940580400222086</c:v>
                </c:pt>
                <c:pt idx="2236">
                  <c:v>0.21055194500230323</c:v>
                </c:pt>
                <c:pt idx="2237">
                  <c:v>0.17099276921114992</c:v>
                </c:pt>
                <c:pt idx="2238">
                  <c:v>0.12559005194325112</c:v>
                </c:pt>
                <c:pt idx="2239">
                  <c:v>0.13443790045495052</c:v>
                </c:pt>
                <c:pt idx="2240">
                  <c:v>0.15115881723017432</c:v>
                </c:pt>
                <c:pt idx="2241">
                  <c:v>0.13206800983563749</c:v>
                </c:pt>
                <c:pt idx="2242">
                  <c:v>0.12969368660935277</c:v>
                </c:pt>
                <c:pt idx="2243">
                  <c:v>0.15820890452222125</c:v>
                </c:pt>
                <c:pt idx="2244">
                  <c:v>0.25474127181467821</c:v>
                </c:pt>
                <c:pt idx="2245">
                  <c:v>0.20893361204763083</c:v>
                </c:pt>
                <c:pt idx="2246">
                  <c:v>0.23153243964478509</c:v>
                </c:pt>
                <c:pt idx="2247">
                  <c:v>0.2829590812701952</c:v>
                </c:pt>
                <c:pt idx="2248">
                  <c:v>0.37097085071597546</c:v>
                </c:pt>
                <c:pt idx="2249">
                  <c:v>0.32823330307419041</c:v>
                </c:pt>
                <c:pt idx="2250">
                  <c:v>0.39365874145778879</c:v>
                </c:pt>
                <c:pt idx="2251">
                  <c:v>0.35173201976728707</c:v>
                </c:pt>
                <c:pt idx="2252">
                  <c:v>0.39148504307084386</c:v>
                </c:pt>
                <c:pt idx="2253">
                  <c:v>0.41510275034392929</c:v>
                </c:pt>
                <c:pt idx="2254">
                  <c:v>0.42246337769318187</c:v>
                </c:pt>
                <c:pt idx="2255">
                  <c:v>0.35816115126943004</c:v>
                </c:pt>
                <c:pt idx="2256">
                  <c:v>0.48780533282711103</c:v>
                </c:pt>
                <c:pt idx="2257">
                  <c:v>0.57853448541896113</c:v>
                </c:pt>
                <c:pt idx="2258">
                  <c:v>0.57035996757682494</c:v>
                </c:pt>
                <c:pt idx="2259">
                  <c:v>0.55625523024965462</c:v>
                </c:pt>
                <c:pt idx="2260">
                  <c:v>0.48174976756810373</c:v>
                </c:pt>
                <c:pt idx="2261">
                  <c:v>0.42195157900351754</c:v>
                </c:pt>
                <c:pt idx="2262">
                  <c:v>0.41879105572699649</c:v>
                </c:pt>
                <c:pt idx="2263">
                  <c:v>0.4952386844089911</c:v>
                </c:pt>
                <c:pt idx="2264">
                  <c:v>0.53479274229642759</c:v>
                </c:pt>
                <c:pt idx="2265">
                  <c:v>0.69611446585197245</c:v>
                </c:pt>
                <c:pt idx="2266">
                  <c:v>0.58414809634116072</c:v>
                </c:pt>
                <c:pt idx="2267">
                  <c:v>0.83752147488812811</c:v>
                </c:pt>
                <c:pt idx="2268">
                  <c:v>0.89452833683515753</c:v>
                </c:pt>
                <c:pt idx="2269">
                  <c:v>1.008049888622885</c:v>
                </c:pt>
                <c:pt idx="2270">
                  <c:v>1.0579139661339367</c:v>
                </c:pt>
                <c:pt idx="2271">
                  <c:v>1.114031548917932</c:v>
                </c:pt>
                <c:pt idx="2272">
                  <c:v>1.1720607258694782</c:v>
                </c:pt>
                <c:pt idx="2273">
                  <c:v>1.1546011343333742</c:v>
                </c:pt>
                <c:pt idx="2274">
                  <c:v>1.025409796543381</c:v>
                </c:pt>
                <c:pt idx="2275">
                  <c:v>1.0541695654212424</c:v>
                </c:pt>
                <c:pt idx="2276">
                  <c:v>0.6445915892217069</c:v>
                </c:pt>
                <c:pt idx="2277">
                  <c:v>0.61126391591907825</c:v>
                </c:pt>
                <c:pt idx="2278">
                  <c:v>0.62845212730551725</c:v>
                </c:pt>
                <c:pt idx="2279">
                  <c:v>0.74581890852618993</c:v>
                </c:pt>
                <c:pt idx="2280">
                  <c:v>0.84032799214859355</c:v>
                </c:pt>
                <c:pt idx="2281">
                  <c:v>0.90995730698065524</c:v>
                </c:pt>
                <c:pt idx="2282">
                  <c:v>1.0084306276370103</c:v>
                </c:pt>
                <c:pt idx="2283">
                  <c:v>1.1758398651438007</c:v>
                </c:pt>
                <c:pt idx="2284">
                  <c:v>1.1765763255624531</c:v>
                </c:pt>
                <c:pt idx="2285">
                  <c:v>1.1592230492135591</c:v>
                </c:pt>
                <c:pt idx="2286">
                  <c:v>1.0503702339267658</c:v>
                </c:pt>
                <c:pt idx="2287">
                  <c:v>1.0007112262086995</c:v>
                </c:pt>
                <c:pt idx="2288">
                  <c:v>0.82441298356383963</c:v>
                </c:pt>
                <c:pt idx="2289">
                  <c:v>0.74830820679878296</c:v>
                </c:pt>
                <c:pt idx="2290">
                  <c:v>0.75147327470955072</c:v>
                </c:pt>
                <c:pt idx="2291">
                  <c:v>0.78715749878498964</c:v>
                </c:pt>
                <c:pt idx="2292">
                  <c:v>0.79766580958949151</c:v>
                </c:pt>
                <c:pt idx="2293">
                  <c:v>0.82243756274033752</c:v>
                </c:pt>
                <c:pt idx="2294">
                  <c:v>0.8560885045544715</c:v>
                </c:pt>
                <c:pt idx="2295">
                  <c:v>0.90451829417340579</c:v>
                </c:pt>
                <c:pt idx="2296">
                  <c:v>0.90520613392705296</c:v>
                </c:pt>
                <c:pt idx="2297">
                  <c:v>0.93025502083856426</c:v>
                </c:pt>
                <c:pt idx="2298">
                  <c:v>0.9439245408253949</c:v>
                </c:pt>
                <c:pt idx="2299">
                  <c:v>0.8749200176524361</c:v>
                </c:pt>
                <c:pt idx="2300">
                  <c:v>0.81208829922575521</c:v>
                </c:pt>
                <c:pt idx="2301">
                  <c:v>0.74593852737515465</c:v>
                </c:pt>
                <c:pt idx="2302">
                  <c:v>0.69061216691650773</c:v>
                </c:pt>
                <c:pt idx="2303">
                  <c:v>0.5843253837586484</c:v>
                </c:pt>
                <c:pt idx="2304">
                  <c:v>0.47515131554597434</c:v>
                </c:pt>
                <c:pt idx="2305">
                  <c:v>0.34102887589580422</c:v>
                </c:pt>
                <c:pt idx="2306">
                  <c:v>0.34558687355761175</c:v>
                </c:pt>
                <c:pt idx="2307">
                  <c:v>0.35106940337301107</c:v>
                </c:pt>
                <c:pt idx="2308">
                  <c:v>0.35395151594042562</c:v>
                </c:pt>
                <c:pt idx="2309">
                  <c:v>0.34352976488507347</c:v>
                </c:pt>
                <c:pt idx="2310">
                  <c:v>0.3362021733209779</c:v>
                </c:pt>
                <c:pt idx="2311">
                  <c:v>0.3257613728246731</c:v>
                </c:pt>
                <c:pt idx="2312">
                  <c:v>0.31761607636887024</c:v>
                </c:pt>
                <c:pt idx="2313">
                  <c:v>0.30428124419475711</c:v>
                </c:pt>
                <c:pt idx="2314">
                  <c:v>0.29129299185278046</c:v>
                </c:pt>
                <c:pt idx="2315">
                  <c:v>0.27433522273178279</c:v>
                </c:pt>
                <c:pt idx="2316">
                  <c:v>0.25357316991596757</c:v>
                </c:pt>
                <c:pt idx="2317">
                  <c:v>0.23001398874009449</c:v>
                </c:pt>
                <c:pt idx="2318">
                  <c:v>0.2037352543513602</c:v>
                </c:pt>
                <c:pt idx="2319">
                  <c:v>0.16297728200725881</c:v>
                </c:pt>
                <c:pt idx="2320">
                  <c:v>0.11267573461605163</c:v>
                </c:pt>
                <c:pt idx="2321">
                  <c:v>-1.994199367492433E-2</c:v>
                </c:pt>
                <c:pt idx="2322">
                  <c:v>-1.9262799479448756E-2</c:v>
                </c:pt>
                <c:pt idx="2323">
                  <c:v>-2.088073898327325E-2</c:v>
                </c:pt>
                <c:pt idx="2324">
                  <c:v>-2.3334385732659113E-2</c:v>
                </c:pt>
                <c:pt idx="2325">
                  <c:v>-2.5707013099896758E-2</c:v>
                </c:pt>
                <c:pt idx="2326">
                  <c:v>-2.8629969544539224E-2</c:v>
                </c:pt>
                <c:pt idx="2327">
                  <c:v>-3.5316773963754433E-2</c:v>
                </c:pt>
                <c:pt idx="2328">
                  <c:v>-3.5897485687306108E-2</c:v>
                </c:pt>
                <c:pt idx="2329">
                  <c:v>-4.1545980480448774E-2</c:v>
                </c:pt>
                <c:pt idx="2330">
                  <c:v>-4.680165900954314E-2</c:v>
                </c:pt>
                <c:pt idx="2331">
                  <c:v>-4.7053592303010094E-2</c:v>
                </c:pt>
                <c:pt idx="2332">
                  <c:v>-4.1980018491099891E-2</c:v>
                </c:pt>
                <c:pt idx="2333">
                  <c:v>-3.3418730620596415E-2</c:v>
                </c:pt>
                <c:pt idx="2334">
                  <c:v>-3.3208539552726957E-2</c:v>
                </c:pt>
                <c:pt idx="2335">
                  <c:v>-3.2013669786313814E-2</c:v>
                </c:pt>
                <c:pt idx="2336">
                  <c:v>-2.8188022722637762E-2</c:v>
                </c:pt>
                <c:pt idx="2337">
                  <c:v>-3.2920795684834192E-2</c:v>
                </c:pt>
                <c:pt idx="2338">
                  <c:v>-2.556272571099083E-2</c:v>
                </c:pt>
                <c:pt idx="2339">
                  <c:v>-2.4570743703751119E-2</c:v>
                </c:pt>
                <c:pt idx="2340">
                  <c:v>-2.5594533650382445E-2</c:v>
                </c:pt>
                <c:pt idx="2341">
                  <c:v>-2.4821415092848631E-2</c:v>
                </c:pt>
                <c:pt idx="2342">
                  <c:v>-2.1284446530579371E-2</c:v>
                </c:pt>
                <c:pt idx="2343">
                  <c:v>-2.9929351892261646E-2</c:v>
                </c:pt>
                <c:pt idx="2344">
                  <c:v>-2.3477735529588095E-2</c:v>
                </c:pt>
                <c:pt idx="2345">
                  <c:v>-1.6722339919721718E-2</c:v>
                </c:pt>
                <c:pt idx="2346">
                  <c:v>-1.8071247318035111E-2</c:v>
                </c:pt>
                <c:pt idx="2347">
                  <c:v>-2.1512903524181004E-2</c:v>
                </c:pt>
                <c:pt idx="2348">
                  <c:v>-3.9162217441201297E-2</c:v>
                </c:pt>
                <c:pt idx="2349">
                  <c:v>-2.9463352620869743E-2</c:v>
                </c:pt>
                <c:pt idx="2350">
                  <c:v>-3.6574376125222408E-2</c:v>
                </c:pt>
                <c:pt idx="2351">
                  <c:v>-2.0766967676713266E-2</c:v>
                </c:pt>
                <c:pt idx="2352">
                  <c:v>-1.3098860392151579E-2</c:v>
                </c:pt>
                <c:pt idx="2353">
                  <c:v>-1.0010357340408338E-2</c:v>
                </c:pt>
                <c:pt idx="2354">
                  <c:v>-1.1577340665582248E-2</c:v>
                </c:pt>
                <c:pt idx="2355">
                  <c:v>-1.0843015555905389E-2</c:v>
                </c:pt>
                <c:pt idx="2356">
                  <c:v>-8.8571825307537377E-3</c:v>
                </c:pt>
                <c:pt idx="2357">
                  <c:v>3.3657493562132546E-3</c:v>
                </c:pt>
                <c:pt idx="2358">
                  <c:v>1.2777546363049841E-2</c:v>
                </c:pt>
                <c:pt idx="2359">
                  <c:v>1.4026284536052147E-2</c:v>
                </c:pt>
                <c:pt idx="2360">
                  <c:v>2.052021971868645E-2</c:v>
                </c:pt>
                <c:pt idx="2361">
                  <c:v>2.3495110651193141E-2</c:v>
                </c:pt>
                <c:pt idx="2362">
                  <c:v>3.0947824762285858E-2</c:v>
                </c:pt>
                <c:pt idx="2363">
                  <c:v>3.2125795633135557E-2</c:v>
                </c:pt>
                <c:pt idx="2364">
                  <c:v>3.1840561732821127E-2</c:v>
                </c:pt>
                <c:pt idx="2365">
                  <c:v>3.4059596912800472E-2</c:v>
                </c:pt>
                <c:pt idx="2366">
                  <c:v>2.8548814180691218E-2</c:v>
                </c:pt>
                <c:pt idx="2367">
                  <c:v>1.503285192599435E-2</c:v>
                </c:pt>
                <c:pt idx="2368">
                  <c:v>1.3802111760001123E-2</c:v>
                </c:pt>
                <c:pt idx="2369">
                  <c:v>1.908436573117267E-2</c:v>
                </c:pt>
                <c:pt idx="2370">
                  <c:v>2.013462330075988E-2</c:v>
                </c:pt>
                <c:pt idx="2371">
                  <c:v>1.851069527759186E-2</c:v>
                </c:pt>
                <c:pt idx="2372">
                  <c:v>1.2221365192993661E-2</c:v>
                </c:pt>
                <c:pt idx="2373">
                  <c:v>1.6710495072438936E-2</c:v>
                </c:pt>
                <c:pt idx="2374">
                  <c:v>2.1593401486091901E-3</c:v>
                </c:pt>
                <c:pt idx="2375">
                  <c:v>2.7462209988169395E-3</c:v>
                </c:pt>
                <c:pt idx="2376">
                  <c:v>8.5437927441336381E-3</c:v>
                </c:pt>
                <c:pt idx="2377">
                  <c:v>2.3493063929056146E-2</c:v>
                </c:pt>
                <c:pt idx="2378">
                  <c:v>2.0157570616152087E-2</c:v>
                </c:pt>
                <c:pt idx="2379">
                  <c:v>1.8582653725090048E-2</c:v>
                </c:pt>
                <c:pt idx="2380">
                  <c:v>1.7487507797754209E-2</c:v>
                </c:pt>
                <c:pt idx="2381">
                  <c:v>1.2935795977500941E-2</c:v>
                </c:pt>
                <c:pt idx="2382">
                  <c:v>1.2350788559592596E-2</c:v>
                </c:pt>
                <c:pt idx="2383">
                  <c:v>1.2387080254362859E-2</c:v>
                </c:pt>
                <c:pt idx="2384">
                  <c:v>1.7904655274363579E-2</c:v>
                </c:pt>
                <c:pt idx="2385">
                  <c:v>1.2303779072527776E-2</c:v>
                </c:pt>
                <c:pt idx="2386">
                  <c:v>1.8383320821948157E-2</c:v>
                </c:pt>
                <c:pt idx="2387">
                  <c:v>1.9113970929864332E-2</c:v>
                </c:pt>
                <c:pt idx="2388">
                  <c:v>2.5297800694528694E-2</c:v>
                </c:pt>
                <c:pt idx="2389">
                  <c:v>2.8800371573588279E-2</c:v>
                </c:pt>
                <c:pt idx="2390">
                  <c:v>3.3822001634343013E-2</c:v>
                </c:pt>
                <c:pt idx="2391">
                  <c:v>2.9714647554920703E-2</c:v>
                </c:pt>
                <c:pt idx="2392">
                  <c:v>1.9135359042453226E-2</c:v>
                </c:pt>
                <c:pt idx="2393">
                  <c:v>1.4380969491122109E-2</c:v>
                </c:pt>
                <c:pt idx="2394">
                  <c:v>1.331555078964064E-2</c:v>
                </c:pt>
                <c:pt idx="2395">
                  <c:v>5.7874593383963058E-3</c:v>
                </c:pt>
                <c:pt idx="2396">
                  <c:v>6.317091640622996E-3</c:v>
                </c:pt>
                <c:pt idx="2397">
                  <c:v>1.6670379770620691E-2</c:v>
                </c:pt>
                <c:pt idx="2398">
                  <c:v>1.8936703957652679E-2</c:v>
                </c:pt>
                <c:pt idx="2399">
                  <c:v>1.310241586309524E-2</c:v>
                </c:pt>
                <c:pt idx="2400">
                  <c:v>1.328665657310335E-2</c:v>
                </c:pt>
                <c:pt idx="2401">
                  <c:v>1.8748129793962454E-2</c:v>
                </c:pt>
                <c:pt idx="2402">
                  <c:v>2.1383951852724792E-2</c:v>
                </c:pt>
                <c:pt idx="2403">
                  <c:v>2.552523896135972E-2</c:v>
                </c:pt>
                <c:pt idx="2404">
                  <c:v>3.5284381022945399E-2</c:v>
                </c:pt>
                <c:pt idx="2405">
                  <c:v>3.4435180890584949E-2</c:v>
                </c:pt>
                <c:pt idx="2406">
                  <c:v>3.3187632604493866E-2</c:v>
                </c:pt>
                <c:pt idx="2407">
                  <c:v>2.1086031696547103E-2</c:v>
                </c:pt>
                <c:pt idx="2408">
                  <c:v>2.7392683883550095E-2</c:v>
                </c:pt>
                <c:pt idx="2409">
                  <c:v>2.9997677903214059E-2</c:v>
                </c:pt>
                <c:pt idx="2410">
                  <c:v>3.000742325804906E-2</c:v>
                </c:pt>
                <c:pt idx="2411">
                  <c:v>2.485855927446734E-2</c:v>
                </c:pt>
                <c:pt idx="2412">
                  <c:v>2.7280777696373826E-2</c:v>
                </c:pt>
                <c:pt idx="2413">
                  <c:v>2.2941241499992882E-2</c:v>
                </c:pt>
                <c:pt idx="2414">
                  <c:v>2.1734598014732986E-2</c:v>
                </c:pt>
                <c:pt idx="2415">
                  <c:v>1.8887364028980502E-2</c:v>
                </c:pt>
                <c:pt idx="2416">
                  <c:v>2.4231939975140171E-2</c:v>
                </c:pt>
                <c:pt idx="2417">
                  <c:v>1.5747966211845821E-2</c:v>
                </c:pt>
                <c:pt idx="2418">
                  <c:v>1.136796551698982E-2</c:v>
                </c:pt>
                <c:pt idx="2419">
                  <c:v>5.9007454532708503E-3</c:v>
                </c:pt>
                <c:pt idx="2420">
                  <c:v>1.7673335432790704E-3</c:v>
                </c:pt>
                <c:pt idx="2421">
                  <c:v>3.4202637697621219E-3</c:v>
                </c:pt>
                <c:pt idx="2422">
                  <c:v>3.6311213926454311E-3</c:v>
                </c:pt>
                <c:pt idx="2423">
                  <c:v>7.6950311382290026E-3</c:v>
                </c:pt>
                <c:pt idx="2424">
                  <c:v>5.3646003427397226E-3</c:v>
                </c:pt>
                <c:pt idx="2425">
                  <c:v>8.469430266675626E-3</c:v>
                </c:pt>
                <c:pt idx="2426">
                  <c:v>1.738889610778982E-2</c:v>
                </c:pt>
                <c:pt idx="2427">
                  <c:v>1.7844886164418539E-2</c:v>
                </c:pt>
                <c:pt idx="2428">
                  <c:v>1.3959428221664516E-2</c:v>
                </c:pt>
                <c:pt idx="2429">
                  <c:v>1.891851589758986E-2</c:v>
                </c:pt>
                <c:pt idx="2430">
                  <c:v>2.1540093114251646E-2</c:v>
                </c:pt>
                <c:pt idx="2431">
                  <c:v>1.5593319719312881E-2</c:v>
                </c:pt>
                <c:pt idx="2432">
                  <c:v>1.5603007655409007E-2</c:v>
                </c:pt>
                <c:pt idx="2433">
                  <c:v>1.0840991306240777E-2</c:v>
                </c:pt>
                <c:pt idx="2434">
                  <c:v>6.420858694339393E-3</c:v>
                </c:pt>
                <c:pt idx="2435">
                  <c:v>8.2999368446850519E-3</c:v>
                </c:pt>
                <c:pt idx="2436">
                  <c:v>1.3737429481051389E-2</c:v>
                </c:pt>
                <c:pt idx="2437">
                  <c:v>1.8346372382831988E-2</c:v>
                </c:pt>
                <c:pt idx="2438">
                  <c:v>2.5099991641088282E-2</c:v>
                </c:pt>
                <c:pt idx="2439">
                  <c:v>1.6691752853286834E-2</c:v>
                </c:pt>
                <c:pt idx="2440">
                  <c:v>1.6915013673647061E-2</c:v>
                </c:pt>
                <c:pt idx="2441">
                  <c:v>2.0008686722376823E-2</c:v>
                </c:pt>
                <c:pt idx="2442">
                  <c:v>2.2558057351180938E-2</c:v>
                </c:pt>
                <c:pt idx="2443">
                  <c:v>2.1807082251280474E-2</c:v>
                </c:pt>
                <c:pt idx="2444">
                  <c:v>1.0741215502146295E-2</c:v>
                </c:pt>
                <c:pt idx="2445">
                  <c:v>4.5962016282235119E-2</c:v>
                </c:pt>
                <c:pt idx="2446">
                  <c:v>4.8179961089426682E-2</c:v>
                </c:pt>
                <c:pt idx="2447">
                  <c:v>6.2535075816724628E-2</c:v>
                </c:pt>
                <c:pt idx="2448">
                  <c:v>8.0397053514648931E-2</c:v>
                </c:pt>
                <c:pt idx="2449">
                  <c:v>8.266156540626346E-2</c:v>
                </c:pt>
                <c:pt idx="2450">
                  <c:v>8.5108860093112804E-2</c:v>
                </c:pt>
                <c:pt idx="2451">
                  <c:v>2.0219799515206305E-2</c:v>
                </c:pt>
              </c:numCache>
            </c:numRef>
          </c:val>
          <c:smooth val="0"/>
          <c:extLst>
            <c:ext xmlns:c16="http://schemas.microsoft.com/office/drawing/2014/chart" uri="{C3380CC4-5D6E-409C-BE32-E72D297353CC}">
              <c16:uniqueId val="{00000003-C63F-4F2D-AF7D-1A69B6104F41}"/>
            </c:ext>
          </c:extLst>
        </c:ser>
        <c:dLbls>
          <c:showLegendKey val="0"/>
          <c:showVal val="0"/>
          <c:showCatName val="0"/>
          <c:showSerName val="0"/>
          <c:showPercent val="0"/>
          <c:showBubbleSize val="0"/>
        </c:dLbls>
        <c:marker val="1"/>
        <c:smooth val="0"/>
        <c:axId val="531816648"/>
        <c:axId val="531815664"/>
      </c:lineChart>
      <c:catAx>
        <c:axId val="47828888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9872"/>
        <c:crosses val="autoZero"/>
        <c:auto val="1"/>
        <c:lblAlgn val="ctr"/>
        <c:lblOffset val="100"/>
        <c:noMultiLvlLbl val="0"/>
      </c:catAx>
      <c:valAx>
        <c:axId val="47828987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288888"/>
        <c:crosses val="autoZero"/>
        <c:crossBetween val="between"/>
      </c:valAx>
      <c:valAx>
        <c:axId val="531815664"/>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816648"/>
        <c:crosses val="max"/>
        <c:crossBetween val="between"/>
      </c:valAx>
      <c:catAx>
        <c:axId val="531816648"/>
        <c:scaling>
          <c:orientation val="minMax"/>
        </c:scaling>
        <c:delete val="1"/>
        <c:axPos val="b"/>
        <c:majorTickMark val="out"/>
        <c:minorTickMark val="none"/>
        <c:tickLblPos val="nextTo"/>
        <c:crossAx val="531815664"/>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200" b="1" dirty="0"/>
              <a:t>Correlation Strength Associated With Pump Failure (Rolling STDEV)</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solidFill>
                <a:schemeClr val="tx2">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Horse Power</c:v>
                </c:pt>
                <c:pt idx="1">
                  <c:v>Volumetric Flow Meter 1</c:v>
                </c:pt>
                <c:pt idx="2">
                  <c:v>Pump Efficiency</c:v>
                </c:pt>
                <c:pt idx="3">
                  <c:v>Volumetric Flow Meter 2</c:v>
                </c:pt>
                <c:pt idx="4">
                  <c:v>Pump Speed (RPM)</c:v>
                </c:pt>
                <c:pt idx="5">
                  <c:v>Ambient Temperature</c:v>
                </c:pt>
                <c:pt idx="6">
                  <c:v>Pump Torque </c:v>
                </c:pt>
              </c:strCache>
            </c:strRef>
          </c:cat>
          <c:val>
            <c:numRef>
              <c:f>Sheet1!$B$4:$B$10</c:f>
              <c:numCache>
                <c:formatCode>0.00</c:formatCode>
                <c:ptCount val="7"/>
                <c:pt idx="0">
                  <c:v>0.7018387356941358</c:v>
                </c:pt>
                <c:pt idx="1">
                  <c:v>0.65724651759557451</c:v>
                </c:pt>
                <c:pt idx="2">
                  <c:v>0.65607910964756189</c:v>
                </c:pt>
                <c:pt idx="3">
                  <c:v>0.63945057966693064</c:v>
                </c:pt>
                <c:pt idx="4">
                  <c:v>0.63884934780605385</c:v>
                </c:pt>
                <c:pt idx="5">
                  <c:v>0.61541470456003278</c:v>
                </c:pt>
                <c:pt idx="6">
                  <c:v>0.61247334766088457</c:v>
                </c:pt>
              </c:numCache>
            </c:numRef>
          </c:val>
          <c:extLst>
            <c:ext xmlns:c16="http://schemas.microsoft.com/office/drawing/2014/chart" uri="{C3380CC4-5D6E-409C-BE32-E72D297353CC}">
              <c16:uniqueId val="{00000000-1E02-4310-A854-AE2DBC2350BC}"/>
            </c:ext>
          </c:extLst>
        </c:ser>
        <c:dLbls>
          <c:showLegendKey val="0"/>
          <c:showVal val="0"/>
          <c:showCatName val="0"/>
          <c:showSerName val="0"/>
          <c:showPercent val="0"/>
          <c:showBubbleSize val="0"/>
        </c:dLbls>
        <c:gapWidth val="99"/>
        <c:overlap val="-27"/>
        <c:axId val="89944536"/>
        <c:axId val="89946504"/>
      </c:barChart>
      <c:catAx>
        <c:axId val="89944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9946504"/>
        <c:crosses val="autoZero"/>
        <c:auto val="1"/>
        <c:lblAlgn val="ctr"/>
        <c:lblOffset val="100"/>
        <c:noMultiLvlLbl val="0"/>
      </c:catAx>
      <c:valAx>
        <c:axId val="8994650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b="1"/>
                  <a:t>Correlation Strengt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944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a:t>Ranking</a:t>
            </a:r>
            <a:r>
              <a:rPr lang="en-AU" b="1" baseline="0"/>
              <a:t> of Variable Significance </a:t>
            </a:r>
            <a:endParaRPr lang="en-AU"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9141207946767778"/>
          <c:y val="8.4543403477293957E-2"/>
          <c:w val="0.70059700028911653"/>
          <c:h val="0.65318358552028022"/>
        </c:manualLayout>
      </c:layout>
      <c:barChart>
        <c:barDir val="col"/>
        <c:grouping val="clustered"/>
        <c:varyColors val="0"/>
        <c:ser>
          <c:idx val="0"/>
          <c:order val="0"/>
          <c:spPr>
            <a:solidFill>
              <a:schemeClr val="accent1"/>
            </a:solidFill>
            <a:ln>
              <a:noFill/>
            </a:ln>
            <a:effectLst/>
          </c:spPr>
          <c:invertIfNegative val="0"/>
          <c:dLbls>
            <c:spPr>
              <a:solidFill>
                <a:schemeClr val="bg2"/>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3:$A$26</c:f>
              <c:strCache>
                <c:ptCount val="14"/>
                <c:pt idx="0">
                  <c:v>Volumetric Flow Meter 2 Rolling Standard Deviation</c:v>
                </c:pt>
                <c:pt idx="1">
                  <c:v>Pump Efficiency Rolling Standard Deviation</c:v>
                </c:pt>
                <c:pt idx="2">
                  <c:v>Intercept</c:v>
                </c:pt>
                <c:pt idx="3">
                  <c:v>Pump Efficiency Rolling Mean</c:v>
                </c:pt>
                <c:pt idx="4">
                  <c:v>Ambient Temperature Rolling Mean</c:v>
                </c:pt>
                <c:pt idx="5">
                  <c:v>Volumetric Flow Meter 2 Rolling Mean</c:v>
                </c:pt>
                <c:pt idx="6">
                  <c:v>Horse Power Rolling Standard Deviation</c:v>
                </c:pt>
                <c:pt idx="7">
                  <c:v>Pump Torque  Rolling Standard Deviation</c:v>
                </c:pt>
                <c:pt idx="8">
                  <c:v>Volumetric Flow Meter 1 Rolling Mean</c:v>
                </c:pt>
                <c:pt idx="9">
                  <c:v>Horse Power Rolling Mean</c:v>
                </c:pt>
                <c:pt idx="10">
                  <c:v>Ambient Temperature Rolling Standard Deviation</c:v>
                </c:pt>
                <c:pt idx="11">
                  <c:v>Pump Speed (RPM) Rolling Standard Deviation</c:v>
                </c:pt>
                <c:pt idx="12">
                  <c:v>Pump Torque  Rolling Mean</c:v>
                </c:pt>
                <c:pt idx="13">
                  <c:v>Pump Speed (RPM) Rolling Mean</c:v>
                </c:pt>
              </c:strCache>
            </c:strRef>
          </c:cat>
          <c:val>
            <c:numRef>
              <c:f>Sheet1!$C$13:$C$26</c:f>
              <c:numCache>
                <c:formatCode>General</c:formatCode>
                <c:ptCount val="14"/>
                <c:pt idx="0">
                  <c:v>1</c:v>
                </c:pt>
                <c:pt idx="1">
                  <c:v>2</c:v>
                </c:pt>
                <c:pt idx="2">
                  <c:v>3</c:v>
                </c:pt>
                <c:pt idx="3">
                  <c:v>4</c:v>
                </c:pt>
                <c:pt idx="4">
                  <c:v>5</c:v>
                </c:pt>
                <c:pt idx="5">
                  <c:v>6</c:v>
                </c:pt>
                <c:pt idx="6">
                  <c:v>7</c:v>
                </c:pt>
                <c:pt idx="7">
                  <c:v>8</c:v>
                </c:pt>
                <c:pt idx="8">
                  <c:v>9</c:v>
                </c:pt>
                <c:pt idx="9">
                  <c:v>10</c:v>
                </c:pt>
                <c:pt idx="10">
                  <c:v>11</c:v>
                </c:pt>
                <c:pt idx="11">
                  <c:v>12</c:v>
                </c:pt>
                <c:pt idx="12">
                  <c:v>13</c:v>
                </c:pt>
                <c:pt idx="13">
                  <c:v>14</c:v>
                </c:pt>
              </c:numCache>
            </c:numRef>
          </c:val>
          <c:extLst>
            <c:ext xmlns:c16="http://schemas.microsoft.com/office/drawing/2014/chart" uri="{C3380CC4-5D6E-409C-BE32-E72D297353CC}">
              <c16:uniqueId val="{00000000-B045-4D86-BF31-8A44C35CED95}"/>
            </c:ext>
          </c:extLst>
        </c:ser>
        <c:dLbls>
          <c:showLegendKey val="0"/>
          <c:showVal val="0"/>
          <c:showCatName val="0"/>
          <c:showSerName val="0"/>
          <c:showPercent val="0"/>
          <c:showBubbleSize val="0"/>
        </c:dLbls>
        <c:gapWidth val="54"/>
        <c:overlap val="-27"/>
        <c:axId val="607717920"/>
        <c:axId val="607714640"/>
      </c:barChart>
      <c:catAx>
        <c:axId val="607717920"/>
        <c:scaling>
          <c:orientation val="minMax"/>
        </c:scaling>
        <c:delete val="1"/>
        <c:axPos val="b"/>
        <c:numFmt formatCode="General" sourceLinked="1"/>
        <c:majorTickMark val="none"/>
        <c:minorTickMark val="none"/>
        <c:tickLblPos val="low"/>
        <c:crossAx val="607714640"/>
        <c:crosses val="autoZero"/>
        <c:auto val="1"/>
        <c:lblAlgn val="ctr"/>
        <c:lblOffset val="100"/>
        <c:noMultiLvlLbl val="0"/>
      </c:catAx>
      <c:valAx>
        <c:axId val="60771464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077179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7161:$C$7212</cx:f>
        <cx:lvl ptCount="52" formatCode="General">
          <cx:pt idx="0">3.627155614177914</cx:pt>
          <cx:pt idx="1">3.5688538866863295</cx:pt>
          <cx:pt idx="2">3.6412936080169294</cx:pt>
          <cx:pt idx="3">3.7577084643737075</cx:pt>
          <cx:pt idx="4">3.7419486614525104</cx:pt>
          <cx:pt idx="5">3.7479396777372216</cx:pt>
          <cx:pt idx="6">3.782648102410092</cx:pt>
          <cx:pt idx="7">3.7388659369685429</cx:pt>
          <cx:pt idx="8">3.6571261118328233</cx:pt>
          <cx:pt idx="9">3.682941642191055</cx:pt>
          <cx:pt idx="10">3.698117277460176</cx:pt>
          <cx:pt idx="11">3.7236908213939204</cx:pt>
          <cx:pt idx="12">3.7513840599959098</cx:pt>
          <cx:pt idx="13">3.6397794745912719</cx:pt>
          <cx:pt idx="14">3.6839508653746487</cx:pt>
          <cx:pt idx="15">3.5918979917023957</cx:pt>
          <cx:pt idx="16">3.5780249853374317</cx:pt>
          <cx:pt idx="17">3.5735171072948608</cx:pt>
          <cx:pt idx="18">3.596838785282408</cx:pt>
          <cx:pt idx="19">3.5760742877949223</cx:pt>
          <cx:pt idx="20">3.6023671727506938</cx:pt>
          <cx:pt idx="21">3.3330732049037435</cx:pt>
          <cx:pt idx="22">7.6261178133586709</cx:pt>
          <cx:pt idx="23">9.956071914012556</cx:pt>
          <cx:pt idx="24">11.823605594204844</cx:pt>
          <cx:pt idx="25">13.335481735515978</cx:pt>
          <cx:pt idx="26">14.578678716477683</cx:pt>
          <cx:pt idx="27">15.651207270758952</cx:pt>
          <cx:pt idx="28">16.477393395749196</cx:pt>
          <cx:pt idx="29">17.251638843764916</cx:pt>
          <cx:pt idx="30">17.934061141644904</cx:pt>
          <cx:pt idx="31">18.399434569386045</cx:pt>
          <cx:pt idx="32">18.752998492857564</cx:pt>
          <cx:pt idx="33">18.835925237956648</cx:pt>
          <cx:pt idx="34">18.808690613135326</cx:pt>
          <cx:pt idx="35">18.687551057217984</cx:pt>
          <cx:pt idx="36">18.597628840651257</cx:pt>
          <cx:pt idx="37">18.577260449443333</cx:pt>
          <cx:pt idx="38">18.712387237576934</cx:pt>
          <cx:pt idx="39">18.894990551915846</cx:pt>
          <cx:pt idx="40">19.070745783298111</cx:pt>
          <cx:pt idx="41">19.297455740706237</cx:pt>
          <cx:pt idx="42">19.519519323581097</cx:pt>
          <cx:pt idx="43">19.80541100712859</cx:pt>
          <cx:pt idx="44">19.96279011141123</cx:pt>
          <cx:pt idx="45">20.154470135719595</cx:pt>
          <cx:pt idx="46">20.317719487218302</cx:pt>
          <cx:pt idx="47">20.533219096177124</cx:pt>
          <cx:pt idx="48">20.604348544050872</cx:pt>
          <cx:pt idx="49">20.859980319375449</cx:pt>
          <cx:pt idx="50">20.95645150747011</cx:pt>
          <cx:pt idx="51">21.201385093726142</cx:pt>
        </cx:lvl>
      </cx:numDim>
    </cx:data>
    <cx:data id="1">
      <cx:numDim type="val">
        <cx:f>'Data Repository Table'!$D$7161:$D$7212</cx:f>
        <cx:lvl ptCount="52" formatCode="General">
          <cx:pt idx="0">3.3139054697389292</cx:pt>
          <cx:pt idx="1">3.2618606076372902</cx:pt>
          <cx:pt idx="2">3.2331172746790307</cx:pt>
          <cx:pt idx="3">3.1742902009063214</cx:pt>
          <cx:pt idx="4">3.1485763637364061</cx:pt>
          <cx:pt idx="5">3.1875253825681344</cx:pt>
          <cx:pt idx="6">3.2463362641268305</cx:pt>
          <cx:pt idx="7">3.2644959761798802</cx:pt>
          <cx:pt idx="8">3.3281788749488688</cx:pt>
          <cx:pt idx="9">3.3527868684045878</cx:pt>
          <cx:pt idx="10">3.2271278218401305</cx:pt>
          <cx:pt idx="11">3.1490628064774739</cx:pt>
          <cx:pt idx="12">2.9942526667364033</cx:pt>
          <cx:pt idx="13">2.9934750906395684</cx:pt>
          <cx:pt idx="14">2.8236086115816139</cx:pt>
          <cx:pt idx="15">2.870423856903292</cx:pt>
          <cx:pt idx="16">2.8322239067673514</cx:pt>
          <cx:pt idx="17">2.832519339113436</cx:pt>
          <cx:pt idx="18">2.8022709300835631</cx:pt>
          <cx:pt idx="19">2.8519045890327819</cx:pt>
          <cx:pt idx="20">2.8847794496491894</cx:pt>
          <cx:pt idx="21">2.861568033946289</cx:pt>
          <cx:pt idx="22">7.4321776863373472</cx:pt>
          <cx:pt idx="23">9.8523454660702861</cx:pt>
          <cx:pt idx="24">11.741001944751854</cx:pt>
          <cx:pt idx="25">13.249132469063611</cx:pt>
          <cx:pt idx="26">14.333356291554502</cx:pt>
          <cx:pt idx="27">15.2850949114362</cx:pt>
          <cx:pt idx="28">16.02683572093401</cx:pt>
          <cx:pt idx="29">16.68004233382112</cx:pt>
          <cx:pt idx="30">17.125110011419661</cx:pt>
          <cx:pt idx="31">17.624933322530783</cx:pt>
          <cx:pt idx="32">18.04335984853309</cx:pt>
          <cx:pt idx="33">18.314680262518365</cx:pt>
          <cx:pt idx="34">18.380370092334452</cx:pt>
          <cx:pt idx="35">18.558598876479458</cx:pt>
          <cx:pt idx="36">18.607754806121324</cx:pt>
          <cx:pt idx="37">18.614088478689286</cx:pt>
          <cx:pt idx="38">18.824486621396609</cx:pt>
          <cx:pt idx="39">19.062172263355755</cx:pt>
          <cx:pt idx="40">19.228920468023972</cx:pt>
          <cx:pt idx="41">19.385906509183307</cx:pt>
          <cx:pt idx="42">19.619202662653741</cx:pt>
          <cx:pt idx="43">19.795495403741981</cx:pt>
          <cx:pt idx="44">20.027710201467833</cx:pt>
          <cx:pt idx="45">20.152917993578843</cx:pt>
          <cx:pt idx="46">20.338783894878787</cx:pt>
          <cx:pt idx="47">20.544973222936619</cx:pt>
          <cx:pt idx="48">20.662737590435171</cx:pt>
          <cx:pt idx="49">20.874522460573541</cx:pt>
          <cx:pt idx="50">21.145103904681687</cx:pt>
          <cx:pt idx="51">21.393403621084317</cx:pt>
        </cx:lvl>
      </cx:numDim>
    </cx:data>
    <cx:data id="2">
      <cx:numDim type="val">
        <cx:f>'Data Repository Table'!$E$7161:$E$7212</cx:f>
        <cx:lvl ptCount="52" formatCode="General">
          <cx:pt idx="0">4.9108175523285391</cx:pt>
          <cx:pt idx="1">5.0045140913302051</cx:pt>
          <cx:pt idx="2">5.0045140913302051</cx:pt>
          <cx:pt idx="3">4.8705831935366106</cx:pt>
          <cx:pt idx="4">4.8705831935366115</cx:pt>
          <cx:pt idx="5">4.8564334893581256</cx:pt>
          <cx:pt idx="6">4.7498726638280155</cx:pt>
          <cx:pt idx="7">4.90840840989007</cx:pt>
          <cx:pt idx="8">4.9103796143464553</cx:pt>
          <cx:pt idx="9">5.0821213080019376</cx:pt>
          <cx:pt idx="10">5.0821213080019376</cx:pt>
          <cx:pt idx="11">5.2605245251371935</cx:pt>
          <cx:pt idx="12">5.4090724265930321</cx:pt>
          <cx:pt idx="13">5.6471517228285233</cx:pt>
          <cx:pt idx="14">6.0426797445027374</cx:pt>
          <cx:pt idx="15">6.6525118548180453</cx:pt>
          <cx:pt idx="16">6.8641189552817377</cx:pt>
          <cx:pt idx="17">7.0897472542420186</cx:pt>
          <cx:pt idx="18">7.3137078544774514</cx:pt>
          <cx:pt idx="19">7.579400492648281</cx:pt>
          <cx:pt idx="20">7.6198665074525964</cx:pt>
          <cx:pt idx="21">7.5579481769301182</cx:pt>
          <cx:pt idx="22">21.241013280003639</cx:pt>
          <cx:pt idx="23">28.604045130880749</cx:pt>
          <cx:pt idx="24">34.12056422783489</cx:pt>
          <cx:pt idx="25">38.460956323137928</cx:pt>
          <cx:pt idx="26">42.175465527639638</cx:pt>
          <cx:pt idx="27">45.319605764687175</cx:pt>
          <cx:pt idx="28">48.040395188762474</cx:pt>
          <cx:pt idx="29">50.393633323763162</cx:pt>
          <cx:pt idx="30">52.467583438042546</cx:pt>
          <cx:pt idx="31">54.101875228367142</cx:pt>
          <cx:pt idx="32">55.626654862420011</cx:pt>
          <cx:pt idx="33">56.643973950864684</cx:pt>
          <cx:pt idx="34">57.556741521942115</cx:pt>
          <cx:pt idx="35">58.406105145605878</cx:pt>
          <cx:pt idx="36">58.888704943244193</cx:pt>
          <cx:pt idx="37">59.242748297208927</cx:pt>
          <cx:pt idx="38">58.824451795424821</cx:pt>
          <cx:pt idx="39">58.298896132967911</cx:pt>
          <cx:pt idx="40">57.914712970838622</cx:pt>
          <cx:pt idx="41">57.635543842133515</cx:pt>
          <cx:pt idx="42">56.945323710319869</cx:pt>
          <cx:pt idx="43">56.256402264088351</cx:pt>
          <cx:pt idx="44">55.645884988281317</cx:pt>
          <cx:pt idx="45">54.552687366661701</cx:pt>
          <cx:pt idx="46">53.341625699429756</cx:pt>
          <cx:pt idx="47">52.396872598128567</cx:pt>
          <cx:pt idx="48">51.202696501573605</cx:pt>
          <cx:pt idx="49">50.015825452539765</cx:pt>
          <cx:pt idx="50">48.561146467485287</cx:pt>
          <cx:pt idx="51">47.226291201460668</cx:pt>
        </cx:lvl>
      </cx:numDim>
    </cx:data>
    <cx:data id="3">
      <cx:numDim type="val">
        <cx:f>'Data Repository Table'!$F$7161:$F$7212</cx:f>
        <cx:lvl ptCount="52" formatCode="General">
          <cx:pt idx="0">9.0973232504171602</cx:pt>
          <cx:pt idx="1">9.2622485019474592</cx:pt>
          <cx:pt idx="2">8.8766941439215525</cx:pt>
          <cx:pt idx="3">9.1411864833062371</cx:pt>
          <cx:pt idx="4">9.1411864833062371</cx:pt>
          <cx:pt idx="5">9.1468309336639759</cx:pt>
          <cx:pt idx="6">9.1501219217448515</cx:pt>
          <cx:pt idx="7">8.8012706804982361</cx:pt>
          <cx:pt idx="8">8.6578946508343613</cx:pt>
          <cx:pt idx="9">8.2799148091820278</cx:pt>
          <cx:pt idx="10">8.266137686856208</cx:pt>
          <cx:pt idx="11">8.266137686856208</cx:pt>
          <cx:pt idx="12">8.1330336627324851</cx:pt>
          <cx:pt idx="13">8.1330336627324851</cx:pt>
          <cx:pt idx="14">7.6916376879427073</cx:pt>
          <cx:pt idx="15">8.2774470117457177</cx:pt>
          <cx:pt idx="16">8.7779048128369332</cx:pt>
          <cx:pt idx="17">9.2221099444734982</cx:pt>
          <cx:pt idx="18">9.3395908362865292</cx:pt>
          <cx:pt idx="19">9.1501219217448533</cx:pt>
          <cx:pt idx="20">9.9911789051131734</cx:pt>
          <cx:pt idx="21">10.433403758050135</cx:pt>
          <cx:pt idx="22">44.425508510895092</cx:pt>
          <cx:pt idx="23">61.003384358786278</cx:pt>
          <cx:pt idx="24">73.140680471164231</cx:pt>
          <cx:pt idx="25">82.672524072748274</cx:pt>
          <cx:pt idx="26">90.626149232609379</cx:pt>
          <cx:pt idx="27">97.420284478936864</cx:pt>
          <cx:pt idx="28">103.33178632209999</cx:pt>
          <cx:pt idx="29">108.28296264879347</cx:pt>
          <cx:pt idx="30">112.66501875743378</cx:pt>
          <cx:pt idx="31">116.25246904534882</cx:pt>
          <cx:pt idx="32">118.95400755745261</cx:pt>
          <cx:pt idx="33">121.35812992512999</cx:pt>
          <cx:pt idx="34">122.81431915394603</cx:pt>
          <cx:pt idx="35">123.71573382435609</cx:pt>
          <cx:pt idx="36">124.42117165896344</cx:pt>
          <cx:pt idx="37">124.5704188293185</cx:pt>
          <cx:pt idx="38">123.30155359231922</cx:pt>
          <cx:pt idx="39">121.99774367735492</cx:pt>
          <cx:pt idx="40">121.10621837474845</cx:pt>
          <cx:pt idx="41">120.0367954340023</cx:pt>
          <cx:pt idx="42">119.52345340550738</cx:pt>
          <cx:pt idx="43">118.06246751850962</cx:pt>
          <cx:pt idx="44">116.44054276754295</cx:pt>
          <cx:pt idx="45">115.10102154755327</cx:pt>
          <cx:pt idx="46">112.8783625465164</cx:pt>
          <cx:pt idx="47">111.42034137947289</cx:pt>
          <cx:pt idx="48">109.78296281632765</cx:pt>
          <cx:pt idx="49">108.63224931574346</cx:pt>
          <cx:pt idx="50">107.35714689412769</cx:pt>
          <cx:pt idx="51">104.29841388911409</cx:pt>
        </cx:lvl>
      </cx:numDim>
    </cx:data>
    <cx:data id="4">
      <cx:numDim type="val">
        <cx:f>'Data Repository Table'!$G$7161:$G$7212</cx:f>
        <cx:lvl ptCount="52" formatCode="General">
          <cx:pt idx="0">1.9293990373070287</cx:pt>
          <cx:pt idx="1">1.9471512138152918</cx:pt>
          <cx:pt idx="2">1.8933954253032148</cx:pt>
          <cx:pt idx="3">1.8933954253032146</cx:pt>
          <cx:pt idx="4">1.9388501192578644</cx:pt>
          <cx:pt idx="5">1.978377743158181</cx:pt>
          <cx:pt idx="6">1.9488071896330819</cx:pt>
          <cx:pt idx="7">1.9488071896330819</cx:pt>
          <cx:pt idx="8">1.9696623803264144</cx:pt>
          <cx:pt idx="9">1.9316269815103857</cx:pt>
          <cx:pt idx="10">1.9897587253097382</cx:pt>
          <cx:pt idx="11">1.9783777431581813</cx:pt>
          <cx:pt idx="12">1.9482553540876466</cx:pt>
          <cx:pt idx="13">2.1557624702079292</cx:pt>
          <cx:pt idx="14">2.5530921585192483</cx:pt>
          <cx:pt idx="15">2.6607461157489487</cx:pt>
          <cx:pt idx="16">2.7167342824226157</cx:pt>
          <cx:pt idx="17">2.7777921146583417</cx:pt>
          <cx:pt idx="18">2.9336754443706328</cx:pt>
          <cx:pt idx="19">2.948664724229253</cx:pt>
          <cx:pt idx="20">3.0416464132482273</cx:pt>
          <cx:pt idx="21">3.0959564332462981</cx:pt>
          <cx:pt idx="22">10.971811389250655</cx:pt>
          <cx:pt idx="23">14.971873271147857</cx:pt>
          <cx:pt idx="24">17.929671449292364</cx:pt>
          <cx:pt idx="25">20.268148644174822</cx:pt>
          <cx:pt idx="26">22.195417525691759</cx:pt>
          <cx:pt idx="27">23.811536013282044</cx:pt>
          <cx:pt idx="28">25.223730079823341</cx:pt>
          <cx:pt idx="29">26.461739472566396</cx:pt>
          <cx:pt idx="30">27.515743294199016</cx:pt>
          <cx:pt idx="31">28.416601236010816</cx:pt>
          <cx:pt idx="32">29.116857623195919</cx:pt>
          <cx:pt idx="33">29.702467223107661</cx:pt>
          <cx:pt idx="34">30.10976335779419</cx:pt>
          <cx:pt idx="35">30.388700503305007</cx:pt>
          <cx:pt idx="36">30.542795641384856</cx:pt>
          <cx:pt idx="37">30.606029344854004</cx:pt>
          <cx:pt idx="38">30.321822227989635</cx:pt>
          <cx:pt idx="39">30.085076499104822</cx:pt>
          <cx:pt idx="40">29.950748101307202</cx:pt>
          <cx:pt idx="41">29.755093537037478</cx:pt>
          <cx:pt idx="42">29.658885049266289</cx:pt>
          <cx:pt idx="43">29.497111212667473</cx:pt>
          <cx:pt idx="44">29.042460572910006</cx:pt>
          <cx:pt idx="45">28.413081948399256</cx:pt>
          <cx:pt idx="46">27.82317437421662</cx:pt>
          <cx:pt idx="47">27.523831316199072</cx:pt>
          <cx:pt idx="48">27.064955716885798</cx:pt>
          <cx:pt idx="49">26.542398624298876</cx:pt>
          <cx:pt idx="50">26.193366967961175</cx:pt>
          <cx:pt idx="51">25.533953781169981</cx:pt>
        </cx:lvl>
      </cx:numDim>
    </cx:data>
    <cx:data id="5">
      <cx:numDim type="val">
        <cx:f>'Data Repository Table'!$H$7161:$H$7212</cx:f>
        <cx:lvl ptCount="52" formatCode="General">
          <cx:pt idx="0">0.29371818515354847</cx:pt>
          <cx:pt idx="1">0.29373048008855435</cx:pt>
          <cx:pt idx="2">0.29789459365503024</cx:pt>
          <cx:pt idx="3">0.29518956696627957</cx:pt>
          <cx:pt idx="4">0.29518956696627957</cx:pt>
          <cx:pt idx="5">0.29513845560802249</cx:pt>
          <cx:pt idx="6">0.29322117212571752</cx:pt>
          <cx:pt idx="7">0.28904931388606231</cx:pt>
          <cx:pt idx="8">0.29018774335841102</cx:pt>
          <cx:pt idx="9">0.29269455029702918</cx:pt>
          <cx:pt idx="10">0.29230015125820069</cx:pt>
          <cx:pt idx="11">0.2984998190988849</cx:pt>
          <cx:pt idx="12">0.29876177281578986</cx:pt>
          <cx:pt idx="13">0.45963245005465475</cx:pt>
          <cx:pt idx="14">0.56832830083908736</cx:pt>
          <cx:pt idx="15">0.73682001620203352</cx:pt>
          <cx:pt idx="16">0.8306516378113501</cx:pt>
          <cx:pt idx="17">0.90931314709819555</cx:pt>
          <cx:pt idx="18">0.96783865149416581</cx:pt>
          <cx:pt idx="19">1.0030230593842537</cx:pt>
          <cx:pt idx="20">1.0703741391987631</cx:pt>
          <cx:pt idx="21">1.1122526683370242</cx:pt>
          <cx:pt idx="22">1.4818899985240062</cx:pt>
          <cx:pt idx="23">1.7642731431371745</cx:pt>
          <cx:pt idx="24">1.9915279843949603</cx:pt>
          <cx:pt idx="25">2.1846379430665026</cx:pt>
          <cx:pt idx="26">2.3519935353334676</cx:pt>
          <cx:pt idx="27">2.4992137588071226</cx:pt>
          <cx:pt idx="28">2.6297968256875337</cx:pt>
          <cx:pt idx="29">2.7466743959015631</cx:pt>
          <cx:pt idx="30">2.8519314767951864</cx:pt>
          <cx:pt idx="31">2.9434352601409728</cx:pt>
          <cx:pt idx="32">3.0254526922204432</cx:pt>
          <cx:pt idx="33">3.093396266519878</cx:pt>
          <cx:pt idx="34">3.1503441390097562</cx:pt>
          <cx:pt idx="35">3.2030284776570586</cx:pt>
          <cx:pt idx="36">3.2456594685199169</cx:pt>
          <cx:pt idx="37">3.2817609501440801</cx:pt>
          <cx:pt idx="38">3.2608150426436402</cx:pt>
          <cx:pt idx="39">3.2419952951075697</cx:pt>
          <cx:pt idx="40">3.2231831506289526</cx:pt>
          <cx:pt idx="41">3.2059501047150278</cx:pt>
          <cx:pt idx="42">3.1828185061679397</cx:pt>
          <cx:pt idx="43">3.1550536107505729</cx:pt>
          <cx:pt idx="44">3.0713920833345449</cx:pt>
          <cx:pt idx="45">2.9774094806439471</cx:pt>
          <cx:pt idx="46">2.8317229459099074</cx:pt>
          <cx:pt idx="47">2.7046287017166488</cx:pt>
          <cx:pt idx="48">2.5590140312332097</cx:pt>
          <cx:pt idx="49">2.4082531264400924</cx:pt>
          <cx:pt idx="50">2.253107983489568</cx:pt>
          <cx:pt idx="51">2.0140980057201823</cx:pt>
        </cx:lvl>
      </cx:numDim>
    </cx:data>
    <cx:data id="6">
      <cx:numDim type="val">
        <cx:f>'Data Repository Table'!$I$7161:$I$7212</cx:f>
        <cx:lvl ptCount="52" formatCode="General">
          <cx:pt idx="0">6.5948283894143893</cx:pt>
          <cx:pt idx="1">6.4888252485206008</cx:pt>
          <cx:pt idx="2">6.6205338327580527</cx:pt>
          <cx:pt idx="3">6.8321972079521949</cx:pt>
          <cx:pt idx="4">6.8035430208227465</cx:pt>
          <cx:pt idx="5">6.8144357777040385</cx:pt>
          <cx:pt idx="6">6.8775420043819837</cx:pt>
          <cx:pt idx="7">6.7979380672155312</cx:pt>
          <cx:pt idx="8">6.6493202033324046</cx:pt>
          <cx:pt idx="9">6.6962575312564621</cx:pt>
          <cx:pt idx="10">6.723849595382136</cx:pt>
          <cx:pt idx="11">6.770346947988946</cx:pt>
          <cx:pt idx="12">6.820698290901654</cx:pt>
          <cx:pt idx="13">6.6177808628932198</cx:pt>
          <cx:pt idx="14">6.6980924824993586</cx:pt>
          <cx:pt idx="15">6.5307236212770814</cx:pt>
          <cx:pt idx="16">6.5054999733407834</cx:pt>
          <cx:pt idx="17">6.4973038314452021</cx:pt>
          <cx:pt idx="18">6.5397068823316484</cx:pt>
          <cx:pt idx="19">6.5019532505362205</cx:pt>
          <cx:pt idx="20">6.5497584959103516</cx:pt>
          <cx:pt idx="21">6.0601330998249869</cx:pt>
          <cx:pt idx="22">13.86566875156117</cx:pt>
          <cx:pt idx="23">18.101948934568274</cx:pt>
          <cx:pt idx="24">21.497464716736058</cx:pt>
          <cx:pt idx="25">24.246330428210833</cx:pt>
          <cx:pt idx="26">26.506688575413975</cx:pt>
          <cx:pt idx="27">28.45674049228899</cx:pt>
          <cx:pt idx="28">29.958897083180386</cx:pt>
          <cx:pt idx="29">31.366616079572591</cx:pt>
          <cx:pt idx="30">32.607383893899836</cx:pt>
          <cx:pt idx="31">33.453517398883704</cx:pt>
          <cx:pt idx="32">34.09636089610467</cx:pt>
          <cx:pt idx="33">34.247136796284828</cx:pt>
          <cx:pt idx="34">34.197619296609709</cx:pt>
          <cx:pt idx="35">33.977365558578171</cx:pt>
          <cx:pt idx="36">33.813870619365943</cx:pt>
          <cx:pt idx="37">33.776837180806062</cx:pt>
          <cx:pt idx="38">34.212981094281787</cx:pt>
          <cx:pt idx="39">34.614175655558689</cx:pt>
          <cx:pt idx="40">34.906807191511241</cx:pt>
          <cx:pt idx="41">35.2269779396741</cx:pt>
          <cx:pt idx="42">35.718260713602355</cx:pt>
          <cx:pt idx="43">35.998189039830017</cx:pt>
          <cx:pt idx="44">36.504700493103293</cx:pt>
          <cx:pt idx="45">36.84160263005451</cx:pt>
          <cx:pt idx="46">37.123036619635414</cx:pt>
          <cx:pt idx="47">37.44530850615498</cx:pt>
          <cx:pt idx="48">37.628975148518265</cx:pt>
          <cx:pt idx="49">38.068017561688784</cx:pt>
          <cx:pt idx="50">38.457124626664253</cx:pt>
          <cx:pt idx="51">38.910918549085935</cx:pt>
        </cx:lvl>
      </cx:numDim>
    </cx:data>
  </cx:chartData>
  <cx:chart>
    <cx:title pos="t" align="ctr" overlay="0">
      <cx:tx>
        <cx:txData>
          <cx:v>Rolling Standard Deviation (Pump Failure = 1)</cx:v>
        </cx:txData>
      </cx:tx>
      <cx:txPr>
        <a:bodyPr spcFirstLastPara="1" vertOverflow="ellipsis" horzOverflow="overflow" wrap="square" lIns="0" tIns="0" rIns="0" bIns="0" anchor="ctr" anchorCtr="1"/>
        <a:lstStyle/>
        <a:p>
          <a:pPr algn="ctr" rtl="0">
            <a:defRPr/>
          </a:pPr>
          <a:r>
            <a:rPr lang="en-US" sz="1400" b="1" i="0" u="none" strike="noStrike" baseline="0" dirty="0">
              <a:solidFill>
                <a:sysClr val="windowText" lastClr="000000">
                  <a:lumMod val="65000"/>
                  <a:lumOff val="35000"/>
                </a:sysClr>
              </a:solidFill>
              <a:latin typeface="Calibri" panose="020F0502020204030204"/>
            </a:rPr>
            <a:t>Rolling Standard Deviation (Pump Failure = 1)</a:t>
          </a:r>
        </a:p>
      </cx:txPr>
    </cx:title>
    <cx:plotArea>
      <cx:plotAreaRegion>
        <cx:series layoutId="boxWhisker" uniqueId="{1FD9E085-6A79-45DF-A847-E4F5B5CBFB7C}" formatIdx="0">
          <cx:tx>
            <cx:txData>
              <cx:f>'Data Repository Table'!$C$1</cx:f>
              <cx:v>Volumetric Flow Meter 1</cx:v>
            </cx:txData>
          </cx:tx>
          <cx:dataId val="0"/>
          <cx:layoutPr>
            <cx:visibility meanLine="0" meanMarker="0" nonoutliers="0" outliers="1"/>
            <cx:statistics quartileMethod="exclusive"/>
          </cx:layoutPr>
        </cx:series>
        <cx:series layoutId="boxWhisker" uniqueId="{02418E6B-ACEF-40D7-9E71-DE741AA6A1FC}" formatIdx="1">
          <cx:tx>
            <cx:txData>
              <cx:f>'Data Repository Table'!$D$1</cx:f>
              <cx:v>Volumetric Flow Meter 2</cx:v>
            </cx:txData>
          </cx:tx>
          <cx:dataId val="1"/>
          <cx:layoutPr>
            <cx:visibility meanLine="0" meanMarker="0" nonoutliers="0" outliers="1"/>
            <cx:statistics quartileMethod="exclusive"/>
          </cx:layoutPr>
        </cx:series>
        <cx:series layoutId="boxWhisker" uniqueId="{C5B57CF0-C9D9-402F-9DFC-22E5C891EA05}" formatIdx="2">
          <cx:tx>
            <cx:txData>
              <cx:f>'Data Repository Table'!$E$1</cx:f>
              <cx:v>Pump Speed (RPM)</cx:v>
            </cx:txData>
          </cx:tx>
          <cx:dataId val="2"/>
          <cx:layoutPr>
            <cx:visibility meanLine="0" meanMarker="0" nonoutliers="0" outliers="1"/>
            <cx:statistics quartileMethod="exclusive"/>
          </cx:layoutPr>
        </cx:series>
        <cx:series layoutId="boxWhisker" uniqueId="{1D353077-731C-4DD3-A0A5-741969298A1D}" formatIdx="3">
          <cx:tx>
            <cx:txData>
              <cx:f>'Data Repository Table'!$F$1</cx:f>
              <cx:v>Pump Torque </cx:v>
            </cx:txData>
          </cx:tx>
          <cx:dataId val="3"/>
          <cx:layoutPr>
            <cx:visibility meanLine="0" meanMarker="0" nonoutliers="0" outliers="1"/>
            <cx:statistics quartileMethod="exclusive"/>
          </cx:layoutPr>
        </cx:series>
        <cx:series layoutId="boxWhisker" uniqueId="{D581DC3F-EEA6-44A9-A95B-85BC356C460A}" formatIdx="4">
          <cx:tx>
            <cx:txData>
              <cx:f>'Data Repository Table'!$G$1</cx:f>
              <cx:v>Ambient Temperature</cx:v>
            </cx:txData>
          </cx:tx>
          <cx:dataId val="4"/>
          <cx:layoutPr>
            <cx:visibility meanLine="0" meanMarker="0" nonoutliers="0" outliers="1"/>
            <cx:statistics quartileMethod="exclusive"/>
          </cx:layoutPr>
        </cx:series>
        <cx:series layoutId="boxWhisker" uniqueId="{91B066DC-0F66-4921-9C9E-5B6EFBC84EDD}" formatIdx="5">
          <cx:tx>
            <cx:txData>
              <cx:f>'Data Repository Table'!$H$1</cx:f>
              <cx:v>Horse Power</cx:v>
            </cx:txData>
          </cx:tx>
          <cx:dataId val="5"/>
          <cx:layoutPr>
            <cx:visibility meanLine="0" meanMarker="0" nonoutliers="0" outliers="1"/>
            <cx:statistics quartileMethod="exclusive"/>
          </cx:layoutPr>
        </cx:series>
        <cx:series layoutId="boxWhisker" uniqueId="{BC23B6FE-0FB1-4C50-9C44-7444804F629D}"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Data Repository Table'!$C$4937:$C$7360</cx:f>
        <cx:lvl ptCount="2424" formatCode="General">
          <cx:pt idx="0">1.1024146518058116</cx:pt>
          <cx:pt idx="1">1.1389434832617973</cx:pt>
          <cx:pt idx="2">1.1469694523966987</cx:pt>
          <cx:pt idx="3">1.1406728819674441</cx:pt>
          <cx:pt idx="4">1.1471848666538318</cx:pt>
          <cx:pt idx="5">1.1868296976326449</cx:pt>
          <cx:pt idx="6">1.2218397902827847</cx:pt>
          <cx:pt idx="7">1.1706891638174366</cx:pt>
          <cx:pt idx="8">1.2193245089247222</cx:pt>
          <cx:pt idx="9">1.2257160294889822</cx:pt>
          <cx:pt idx="10">1.2259960181661025</cx:pt>
          <cx:pt idx="11">1.2333314443461258</cx:pt>
          <cx:pt idx="12">1.2199230541573165</cx:pt>
          <cx:pt idx="13">1.1631339755854821</cx:pt>
          <cx:pt idx="14">1.165133524121702</cx:pt>
          <cx:pt idx="15">1.1927832275635786</cx:pt>
          <cx:pt idx="16">1.1930433659839352</cx:pt>
          <cx:pt idx="17">1.1699536798109678</cx:pt>
          <cx:pt idx="18">1.1559753132014463</cx:pt>
          <cx:pt idx="19">1.151740711560838</cx:pt>
          <cx:pt idx="20">1.1437785897478541</cx:pt>
          <cx:pt idx="21">1.1495555008186269</cx:pt>
          <cx:pt idx="22">1.0951066133594733</cx:pt>
          <cx:pt idx="23">1.0733453882980277</cx:pt>
          <cx:pt idx="24">1.0810833873122738</cx:pt>
          <cx:pt idx="25">1.110686990739447</cx:pt>
          <cx:pt idx="26">1.0945195833239205</cx:pt>
          <cx:pt idx="27">1.0853708548109797</cx:pt>
          <cx:pt idx="28">1.0838470907508266</cx:pt>
          <cx:pt idx="29">1.1009816733993756</cx:pt>
          <cx:pt idx="30">1.1076813912475592</cx:pt>
          <cx:pt idx="31">1.1178340231115733</cx:pt>
          <cx:pt idx="32">1.0750400842739298</cx:pt>
          <cx:pt idx="33">1.0511858127387492</cx:pt>
          <cx:pt idx="34">1.0694341786036159</cx:pt>
          <cx:pt idx="35">1.0655983225147438</cx:pt>
          <cx:pt idx="36">1.0307431289363329</cx:pt>
          <cx:pt idx="37">1.005648562997066</cx:pt>
          <cx:pt idx="38">1.0385710820512564</cx:pt>
          <cx:pt idx="39">0.99309757612176475</cx:pt>
          <cx:pt idx="40">1.0265219490239632</cx:pt>
          <cx:pt idx="41">1.0754836871335249</cx:pt>
          <cx:pt idx="42">1.0799578844834938</cx:pt>
          <cx:pt idx="43">1.0807604849394017</cx:pt>
          <cx:pt idx="44">1.0792571120814973</cx:pt>
          <cx:pt idx="45">1.1182825734037409</cx:pt>
          <cx:pt idx="46">1.0599512060183638</cx:pt>
          <cx:pt idx="47">1.060289167293323</cx:pt>
          <cx:pt idx="48">1.0519079439668872</cx:pt>
          <cx:pt idx="49">1.0264630785434521</cx:pt>
          <cx:pt idx="50">1.0284629935161773</cx:pt>
          <cx:pt idx="51">1.0902513274420929</cx:pt>
          <cx:pt idx="52">1.1101267001214674</cx:pt>
          <cx:pt idx="53">1.1441706392024318</cx:pt>
          <cx:pt idx="54">1.2034803472581335</cx:pt>
          <cx:pt idx="55">1.2047434028317667</cx:pt>
          <cx:pt idx="56">1.1847780972760025</cx:pt>
          <cx:pt idx="57">1.1982806679320932</cx:pt>
          <cx:pt idx="58">1.1869265451812561</cx:pt>
          <cx:pt idx="59">1.1994219037627274</cx:pt>
          <cx:pt idx="60">1.1755350188935927</cx:pt>
          <cx:pt idx="61">1.2009856167385609</cx:pt>
          <cx:pt idx="62">1.2127866250290942</cx:pt>
          <cx:pt idx="63">1.2379100493665036</cx:pt>
          <cx:pt idx="64">1.2288929365336769</cx:pt>
          <cx:pt idx="65">1.2131429899144177</cx:pt>
          <cx:pt idx="66">1.2442576056618302</cx:pt>
          <cx:pt idx="67">1.2423186784898348</cx:pt>
          <cx:pt idx="68">1.2330471042463549</cx:pt>
          <cx:pt idx="69">1.2354078165198239</cx:pt>
          <cx:pt idx="70">1.2639697662098062</cx:pt>
          <cx:pt idx="71">1.2834091026368726</cx:pt>
          <cx:pt idx="72">1.2802205791123638</cx:pt>
          <cx:pt idx="73">1.2975380326744028</cx:pt>
          <cx:pt idx="74">1.3404240221436592</cx:pt>
          <cx:pt idx="75">1.3404240221436592</cx:pt>
          <cx:pt idx="76">1.2976568627080636</cx:pt>
          <cx:pt idx="77">1.3032190913273181</cx:pt>
          <cx:pt idx="78">1.3071517916644622</cx:pt>
          <cx:pt idx="79">1.2970432877597344</cx:pt>
          <cx:pt idx="80">1.3006038299884581</cx:pt>
          <cx:pt idx="81">1.3105963511695449</cx:pt>
          <cx:pt idx="82">1.3124068016065848</cx:pt>
          <cx:pt idx="83">1.2922810540206204</cx:pt>
          <cx:pt idx="84">1.2572349760272488</cx:pt>
          <cx:pt idx="85">1.2264324519270458</cx:pt>
          <cx:pt idx="86">1.2024846141684427</cx:pt>
          <cx:pt idx="87">1.1948128930767219</cx:pt>
          <cx:pt idx="88">1.1952903997710964</cx:pt>
          <cx:pt idx="89">1.201474363089488</cx:pt>
          <cx:pt idx="90">1.1915276180249157</cx:pt>
          <cx:pt idx="91">1.1821996993030655</cx:pt>
          <cx:pt idx="92">1.1607982051667209</cx:pt>
          <cx:pt idx="93">1.1284532186434078</cx:pt>
          <cx:pt idx="94">1.1366410617366447</cx:pt>
          <cx:pt idx="95">1.1158389485673037</cx:pt>
          <cx:pt idx="96">1.1304770141714042</cx:pt>
          <cx:pt idx="97">1.0745020352032444</cx:pt>
          <cx:pt idx="98">1.0787980169106368</cx:pt>
          <cx:pt idx="99">1.1538312058585103</cx:pt>
          <cx:pt idx="100">1.0923032782212563</cx:pt>
          <cx:pt idx="101">1.103563436357202</cx:pt>
          <cx:pt idx="102">1.0930703525843724</cx:pt>
          <cx:pt idx="103">1.0395963857003785</cx:pt>
          <cx:pt idx="104">1.0829556330828174</cx:pt>
          <cx:pt idx="105">1.0423512503145271</cx:pt>
          <cx:pt idx="106">1.0937780042497858</cx:pt>
          <cx:pt idx="107">1.1038393408112341</cx:pt>
          <cx:pt idx="108">1.1042393382455777</cx:pt>
          <cx:pt idx="109">1.1153130617931679</cx:pt>
          <cx:pt idx="110">1.120864777509921</cx:pt>
          <cx:pt idx="111">1.1344835403062514</cx:pt>
          <cx:pt idx="112">1.1386098862728531</cx:pt>
          <cx:pt idx="113">1.1039359690017865</cx:pt>
          <cx:pt idx="114">1.110421987015437</cx:pt>
          <cx:pt idx="115">1.126036344645396</cx:pt>
          <cx:pt idx="116">1.1741612426136003</cx:pt>
          <cx:pt idx="117">1.1704578646423909</cx:pt>
          <cx:pt idx="118">1.2253420852180221</cx:pt>
          <cx:pt idx="119">1.213373862019558</cx:pt>
          <cx:pt idx="120">1.2189037027424026</cx:pt>
          <cx:pt idx="121">1.2164532439118472</cx:pt>
          <cx:pt idx="122">1.2069847795496493</cx:pt>
          <cx:pt idx="123">1.2196555127955075</cx:pt>
          <cx:pt idx="124">1.248576651997777</cx:pt>
          <cx:pt idx="125">1.2343645790359079</cx:pt>
          <cx:pt idx="126">1.250283924743943</cx:pt>
          <cx:pt idx="127">1.2337891630763866</cx:pt>
          <cx:pt idx="128">1.2399751991970058</cx:pt>
          <cx:pt idx="129">1.2666564232749362</cx:pt>
          <cx:pt idx="130">1.2346116014567545</cx:pt>
          <cx:pt idx="131">1.2849116115369046</cx:pt>
          <cx:pt idx="132">1.2987628521930241</cx:pt>
          <cx:pt idx="133">1.2639862698315123</cx:pt>
          <cx:pt idx="134">1.2867151642762644</cx:pt>
          <cx:pt idx="135">1.2466698004675694</cx:pt>
          <cx:pt idx="136">1.2543622806760397</cx:pt>
          <cx:pt idx="137">1.2134988957112705</cx:pt>
          <cx:pt idx="138">1.2072055174204279</cx:pt>
          <cx:pt idx="139">1.2540012519072488</cx:pt>
          <cx:pt idx="140">1.2789505946892223</cx:pt>
          <cx:pt idx="141">1.3094842619359981</cx:pt>
          <cx:pt idx="142">1.321738672461229</cx:pt>
          <cx:pt idx="143">1.312895019920989</cx:pt>
          <cx:pt idx="144">1.2765123015129858</cx:pt>
          <cx:pt idx="145">1.2864539074191423</cx:pt>
          <cx:pt idx="146">1.268654100141742</cx:pt>
          <cx:pt idx="147">1.2770709935554274</cx:pt>
          <cx:pt idx="148">1.2942970857714857</cx:pt>
          <cx:pt idx="149">1.2516915865967109</cx:pt>
          <cx:pt idx="150">1.2540382083321826</cx:pt>
          <cx:pt idx="151">1.2675046181333023</cx:pt>
          <cx:pt idx="152">1.2698184613286985</cx:pt>
          <cx:pt idx="153">1.3137614879847213</cx:pt>
          <cx:pt idx="154">1.3142402032459506</cx:pt>
          <cx:pt idx="155">1.2995167008984452</cx:pt>
          <cx:pt idx="156">1.3163863863925251</cx:pt>
          <cx:pt idx="157">1.2933851558179887</cx:pt>
          <cx:pt idx="158">1.2800351137656805</cx:pt>
          <cx:pt idx="159">1.3011065596521654</cx:pt>
          <cx:pt idx="160">1.2573854081052995</cx:pt>
          <cx:pt idx="161">1.2389558559138527</cx:pt>
          <cx:pt idx="162">1.1983994702613072</cx:pt>
          <cx:pt idx="163">1.1598574254242757</cx:pt>
          <cx:pt idx="164">1.1971423860481758</cx:pt>
          <cx:pt idx="165">1.1798188306338735</cx:pt>
          <cx:pt idx="166">1.1874393702688641</cx:pt>
          <cx:pt idx="167">1.1789046310165461</cx:pt>
          <cx:pt idx="168">1.1833465393780747</cx:pt>
          <cx:pt idx="169">1.1787349698012093</cx:pt>
          <cx:pt idx="170">1.1601858397669309</cx:pt>
          <cx:pt idx="171">1.115141825205467</cx:pt>
          <cx:pt idx="172">1.0778400344137091</cx:pt>
          <cx:pt idx="173">1.1020191634264533</cx:pt>
          <cx:pt idx="174">1.1059949055862759</cx:pt>
          <cx:pt idx="175">1.1166883644176679</cx:pt>
          <cx:pt idx="176">1.1182091096495439</cx:pt>
          <cx:pt idx="177">1.0989622671029835</cx:pt>
          <cx:pt idx="178">1.0558240933645302</cx:pt>
          <cx:pt idx="179">1.0715191707726617</cx:pt>
          <cx:pt idx="180">1.0801322101473732</cx:pt>
          <cx:pt idx="181">1.0866945045580008</cx:pt>
          <cx:pt idx="182">1.0322954899129531</cx:pt>
          <cx:pt idx="183">1.0495833274639621</cx:pt>
          <cx:pt idx="184">0.96734132926895444</cx:pt>
          <cx:pt idx="185">0.96274395037231719</cx:pt>
          <cx:pt idx="186">0.95649977938156849</cx:pt>
          <cx:pt idx="187">0.93645740592847004</cx:pt>
          <cx:pt idx="188">0.964993175083114</cx:pt>
          <cx:pt idx="189">1.0310081713848662</cx:pt>
          <cx:pt idx="190">0.97970524424002037</cx:pt>
          <cx:pt idx="191">0.98404978456103709</cx:pt>
          <cx:pt idx="192">0.98434695343216405</cx:pt>
          <cx:pt idx="193">0.99535501852516217</cx:pt>
          <cx:pt idx="194">1.0485824532626524</cx:pt>
          <cx:pt idx="195">0.96140119516490929</cx:pt>
          <cx:pt idx="196">0.95969932567389282</cx:pt>
          <cx:pt idx="197">0.91350912679139806</cx:pt>
          <cx:pt idx="198">0.96864432479470441</cx:pt>
          <cx:pt idx="199">0.97603917601614698</cx:pt>
          <cx:pt idx="200">0.98804509931458573</cx:pt>
          <cx:pt idx="201">0.99075685199999797</cx:pt>
          <cx:pt idx="202">0.97684526239659175</cx:pt>
          <cx:pt idx="203">0.98030519715540232</cx:pt>
          <cx:pt idx="204">0.98038680099738784</cx:pt>
          <cx:pt idx="205">0.95007707666952068</cx:pt>
          <cx:pt idx="206">0.95135986429838881</cx:pt>
          <cx:pt idx="207">0.96267257913771209</cx:pt>
          <cx:pt idx="208">0.9596856564207803</cx:pt>
          <cx:pt idx="209">0.98852317348463192</cx:pt>
          <cx:pt idx="210">0.97685582960227857</cx:pt>
          <cx:pt idx="211">0.93383991628507235</cx:pt>
          <cx:pt idx="212">0.89005557395658275</cx:pt>
          <cx:pt idx="213">0.8076430596668035</cx:pt>
          <cx:pt idx="214">0.8291913407470507</cx:pt>
          <cx:pt idx="215">0.87522335091020842</cx:pt>
          <cx:pt idx="216">0.8853148398120283</cx:pt>
          <cx:pt idx="217">0.8995181505816352</cx:pt>
          <cx:pt idx="218">0.87607776941577231</cx:pt>
          <cx:pt idx="219">0.87194406449777628</cx:pt>
          <cx:pt idx="220">0.87574680879708511</cx:pt>
          <cx:pt idx="221">0.87770423901380057</cx:pt>
          <cx:pt idx="222">0.85021148539200053</cx:pt>
          <cx:pt idx="223">0.84333771089857867</cx:pt>
          <cx:pt idx="224">0.85880862714839745</cx:pt>
          <cx:pt idx="225">0.8621421183645207</cx:pt>
          <cx:pt idx="226">0.86222854540784466</cx:pt>
          <cx:pt idx="227">0.88873608453634156</cx:pt>
          <cx:pt idx="228">0.88196554683641115</cx:pt>
          <cx:pt idx="229">0.92789761207507271</cx:pt>
          <cx:pt idx="230">0.93734858275424737</cx:pt>
          <cx:pt idx="231">0.93335768017399601</cx:pt>
          <cx:pt idx="232">1.0135789883336157</cx:pt>
          <cx:pt idx="233">1.0034458908750272</cx:pt>
          <cx:pt idx="234">1.1459884215669851</cx:pt>
          <cx:pt idx="235">1.1568540953160262</cx:pt>
          <cx:pt idx="236">1.162279647285722</cx:pt>
          <cx:pt idx="237">1.190463630655711</cx:pt>
          <cx:pt idx="238">1.1861951461421438</cx:pt>
          <cx:pt idx="239">1.1891344100484558</cx:pt>
          <cx:pt idx="240">1.1701821381986393</cx:pt>
          <cx:pt idx="241">1.1727463402179619</cx:pt>
          <cx:pt idx="242">1.1880509927146738</cx:pt>
          <cx:pt idx="243">1.2903476234128968</cx:pt>
          <cx:pt idx="244">1.2900961037803527</cx:pt>
          <cx:pt idx="245">1.2905126096628907</cx:pt>
          <cx:pt idx="246">1.2302190555877366</cx:pt>
          <cx:pt idx="247">1.20464298909793</cx:pt>
          <cx:pt idx="248">1.1333452244790472</cx:pt>
          <cx:pt idx="249">1.1259211760259489</cx:pt>
          <cx:pt idx="250">1.119575956592783</cx:pt>
          <cx:pt idx="251">1.1039366508238861</cx:pt>
          <cx:pt idx="252">1.099720785677716</cx:pt>
          <cx:pt idx="253">1.0992904847639104</cx:pt>
          <cx:pt idx="254">1.0768251822456048</cx:pt>
          <cx:pt idx="255">1.1189678423699516</cx:pt>
          <cx:pt idx="256">1.1200847702174681</cx:pt>
          <cx:pt idx="257">1.1417500244272252</cx:pt>
          <cx:pt idx="258">1.1750726355952346</cx:pt>
          <cx:pt idx="259">1.1636305809973619</cx:pt>
          <cx:pt idx="260">1.15623006230994</cx:pt>
          <cx:pt idx="261">1.1700295005930683</cx:pt>
          <cx:pt idx="262">1.1475927118355467</cx:pt>
          <cx:pt idx="263">1.1571394094504024</cx:pt>
          <cx:pt idx="264">1.1750783089896879</cx:pt>
          <cx:pt idx="265">1.1327471602402091</cx:pt>
          <cx:pt idx="266">1.1947462051095434</cx:pt>
          <cx:pt idx="267">1.1938083994610089</cx:pt>
          <cx:pt idx="268">1.2309426408026642</cx:pt>
          <cx:pt idx="269">1.2325296131581696</cx:pt>
          <cx:pt idx="270">1.2277570247520297</cx:pt>
          <cx:pt idx="271">1.2485042233404435</cx:pt>
          <cx:pt idx="272">1.2458163968352862</cx:pt>
          <cx:pt idx="273">1.226472956888367</cx:pt>
          <cx:pt idx="274">1.2027135090894405</cx:pt>
          <cx:pt idx="275">1.1738474557890239</cx:pt>
          <cx:pt idx="276">1.1711402402639877</cx:pt>
          <cx:pt idx="277">1.1633668233155854</cx:pt>
          <cx:pt idx="278">1.1473382004607702</cx:pt>
          <cx:pt idx="279">1.1452447735736879</cx:pt>
          <cx:pt idx="280">1.1445432013624235</cx:pt>
          <cx:pt idx="281">1.1828853915161708</cx:pt>
          <cx:pt idx="282">1.1647357907978919</cx:pt>
          <cx:pt idx="283">1.182071263976195</cx:pt>
          <cx:pt idx="284">1.2171682277416114</cx:pt>
          <cx:pt idx="285">1.2101073443898422</cx:pt>
          <cx:pt idx="286">1.2067210526566328</cx:pt>
          <cx:pt idx="287">1.2311614413323935</cx:pt>
          <cx:pt idx="288">1.1950696205031166</cx:pt>
          <cx:pt idx="289">1.2041674052161297</cx:pt>
          <cx:pt idx="290">1.1741334026897579</cx:pt>
          <cx:pt idx="291">1.1782242881210181</cx:pt>
          <cx:pt idx="292">1.193035885317753</cx:pt>
          <cx:pt idx="293">1.2403674446910733</cx:pt>
          <cx:pt idx="294">1.2472624647258406</cx:pt>
          <cx:pt idx="295">1.2339463748129329</cx:pt>
          <cx:pt idx="296">1.2537333495715735</cx:pt>
          <cx:pt idx="297">1.1959539315757999</cx:pt>
          <cx:pt idx="298">1.158761853125164</cx:pt>
          <cx:pt idx="299">1.1348138969210593</cx:pt>
          <cx:pt idx="300">1.088615871705457</cx:pt>
          <cx:pt idx="301">1.1092546175029485</cx:pt>
          <cx:pt idx="302">1.1469443274730384</cx:pt>
          <cx:pt idx="303">1.148202896910262</cx:pt>
          <cx:pt idx="304">1.1197797402465657</cx:pt>
          <cx:pt idx="305">1.1419103028631215</cx:pt>
          <cx:pt idx="306">1.1880771489377095</cx:pt>
          <cx:pt idx="307">1.2070229973488624</cx:pt>
          <cx:pt idx="308">1.2048662086078938</cx:pt>
          <cx:pt idx="309">1.2208244173772556</cx:pt>
          <cx:pt idx="310">1.2231646773664566</cx:pt>
          <cx:pt idx="311">1.244730225122429</cx:pt>
          <cx:pt idx="312">1.2672489041014143</cx:pt>
          <cx:pt idx="313">1.3073604697440799</cx:pt>
          <cx:pt idx="314">1.299095963576457</cx:pt>
          <cx:pt idx="315">1.3001200937084676</cx:pt>
          <cx:pt idx="316">1.3008575335449473</cx:pt>
          <cx:pt idx="317">1.3287260452124074</cx:pt>
          <cx:pt idx="318">1.3552385815431998</cx:pt>
          <cx:pt idx="319">1.372985914924346</cx:pt>
          <cx:pt idx="320">1.3365446542870254</cx:pt>
          <cx:pt idx="321">1.3509817218982736</cx:pt>
          <cx:pt idx="322">1.3501145311831237</cx:pt>
          <cx:pt idx="323">1.3406831030469868</cx:pt>
          <cx:pt idx="324">1.3109755868235347</cx:pt>
          <cx:pt idx="325">1.3056408635287606</cx:pt>
          <cx:pt idx="326">1.3033299782703009</cx:pt>
          <cx:pt idx="327">1.2627044708264716</cx:pt>
          <cx:pt idx="328">1.2996316268817856</cx:pt>
          <cx:pt idx="329">1.3050596327989341</cx:pt>
          <cx:pt idx="330">1.3020108517460653</cx:pt>
          <cx:pt idx="331">1.3151783067305447</cx:pt>
          <cx:pt idx="332">1.3082531240395103</cx:pt>
          <cx:pt idx="333">1.2757440165248373</cx:pt>
          <cx:pt idx="334">1.3160531577328072</cx:pt>
          <cx:pt idx="335">1.3005144556914254</cx:pt>
          <cx:pt idx="336">1.3098154675906772</cx:pt>
          <cx:pt idx="337">1.2611402077706952</cx:pt>
          <cx:pt idx="338">1.258580442873158</cx:pt>
          <cx:pt idx="339">1.2826405056237176</cx:pt>
          <cx:pt idx="340">1.2736084542054733</cx:pt>
          <cx:pt idx="341">1.2575101701206983</cx:pt>
          <cx:pt idx="342">1.2495316111694923</cx:pt>
          <cx:pt idx="343">1.2086562342010723</cx:pt>
          <cx:pt idx="344">1.1571999947964866</cx:pt>
          <cx:pt idx="345">1.16084794740278</cx:pt>
          <cx:pt idx="346">1.1382324535346768</cx:pt>
          <cx:pt idx="347">1.1442777691204291</cx:pt>
          <cx:pt idx="348">1.1008386832100394</cx:pt>
          <cx:pt idx="349">1.0700340663856485</cx:pt>
          <cx:pt idx="350">1.0504974755974235</cx:pt>
          <cx:pt idx="351">1.0518679748709623</cx:pt>
          <cx:pt idx="352">1.058715188075795</cx:pt>
          <cx:pt idx="353">1.0633530857369233</cx:pt>
          <cx:pt idx="354">1.0610993487685259</cx:pt>
          <cx:pt idx="355">1.0619241007242113</cx:pt>
          <cx:pt idx="356">1.0405781064864499</cx:pt>
          <cx:pt idx="357">1.0443975471816949</cx:pt>
          <cx:pt idx="358">1.1054320422350712</cx:pt>
          <cx:pt idx="359">1.0802027886078283</cx:pt>
          <cx:pt idx="360">1.0714692956930234</cx:pt>
          <cx:pt idx="361">1.0841632222470554</cx:pt>
          <cx:pt idx="362">1.0631994724789744</cx:pt>
          <cx:pt idx="363">1.0477844521009634</cx:pt>
          <cx:pt idx="364">1.0181022827125552</cx:pt>
          <cx:pt idx="365">0.99363598622346561</cx:pt>
          <cx:pt idx="366">1.0116698641249002</cx:pt>
          <cx:pt idx="367">0.94983326210785612</cx:pt>
          <cx:pt idx="368">0.94397375578609333</cx:pt>
          <cx:pt idx="369">0.96067986678789752</cx:pt>
          <cx:pt idx="370">0.98406617488822312</cx:pt>
          <cx:pt idx="371">0.99931438862443445</cx:pt>
          <cx:pt idx="372">1.0047870367631695</cx:pt>
          <cx:pt idx="373">1.008158333698854</cx:pt>
          <cx:pt idx="374">1.0187377811128164</cx:pt>
          <cx:pt idx="375">1.0620525876456073</cx:pt>
          <cx:pt idx="376">1.0408183298246259</cx:pt>
          <cx:pt idx="377">1.0606353340465118</cx:pt>
          <cx:pt idx="378">1.1246080320744867</cx:pt>
          <cx:pt idx="379">1.1235959936690971</cx:pt>
          <cx:pt idx="380">1.1736924548171137</cx:pt>
          <cx:pt idx="381">1.1588636443674287</cx:pt>
          <cx:pt idx="382">1.185109132491172</cx:pt>
          <cx:pt idx="383">1.1687919505437712</cx:pt>
          <cx:pt idx="384">1.1999332418706616</cx:pt>
          <cx:pt idx="385">1.2059856095006192</cx:pt>
          <cx:pt idx="386">1.2366106122994467</cx:pt>
          <cx:pt idx="387">1.2404820429674628</cx:pt>
          <cx:pt idx="388">1.2676880997625437</cx:pt>
          <cx:pt idx="389">1.2317190539879574</cx:pt>
          <cx:pt idx="390">1.237050515740818</cx:pt>
          <cx:pt idx="391">1.2369364688442932</cx:pt>
          <cx:pt idx="392">1.2609802467904476</cx:pt>
          <cx:pt idx="393">1.3184734574744066</cx:pt>
          <cx:pt idx="394">1.3163546111764834</cx:pt>
          <cx:pt idx="395">1.345819093436434</cx:pt>
          <cx:pt idx="396">1.3388527427117094</cx:pt>
          <cx:pt idx="397">1.3415164745961576</cx:pt>
          <cx:pt idx="398">1.3692513455577935</cx:pt>
          <cx:pt idx="399">1.4114725019127767</cx:pt>
          <cx:pt idx="400">1.4218980197238564</cx:pt>
          <cx:pt idx="401">1.4016245566661079</cx:pt>
          <cx:pt idx="402">1.4143749711939142</cx:pt>
          <cx:pt idx="403">1.4136141433349345</cx:pt>
          <cx:pt idx="404">1.3921690355901166</cx:pt>
          <cx:pt idx="405">1.3925462097311387</cx:pt>
          <cx:pt idx="406">1.3553930509563068</cx:pt>
          <cx:pt idx="407">1.3138893261193361</cx:pt>
          <cx:pt idx="408">1.340200033216034</cx:pt>
          <cx:pt idx="409">1.2943278240573495</cx:pt>
          <cx:pt idx="410">1.2927757084111942</cx:pt>
          <cx:pt idx="411">1.252682712619051</cx:pt>
          <cx:pt idx="412">1.2601163114092166</cx:pt>
          <cx:pt idx="413">1.2558575872963831</cx:pt>
          <cx:pt idx="414">1.2601791133999412</cx:pt>
          <cx:pt idx="415">1.2543039881239537</cx:pt>
          <cx:pt idx="416">1.2872477099092723</cx:pt>
          <cx:pt idx="417">1.2530799045997936</cx:pt>
          <cx:pt idx="418">1.242614742327429</cx:pt>
          <cx:pt idx="419">1.2372366886153652</cx:pt>
          <cx:pt idx="420">1.2453590405119908</cx:pt>
          <cx:pt idx="421">1.2125015463907667</cx:pt>
          <cx:pt idx="422">1.2149453724610486</cx:pt>
          <cx:pt idx="423">1.1794585964098787</cx:pt>
          <cx:pt idx="424">1.1527784108475181</cx:pt>
          <cx:pt idx="425">1.1602670252543046</cx:pt>
          <cx:pt idx="426">1.1458597748659798</cx:pt>
          <cx:pt idx="427">1.148450381849339</cx:pt>
          <cx:pt idx="428">1.1416586688362824</cx:pt>
          <cx:pt idx="429">1.14036213829275</cx:pt>
          <cx:pt idx="430">1.1595627652057534</cx:pt>
          <cx:pt idx="431">1.1539668842269579</cx:pt>
          <cx:pt idx="432">1.1550465242224142</cx:pt>
          <cx:pt idx="433">1.178434262836904</cx:pt>
          <cx:pt idx="434">1.1726492385019232</cx:pt>
          <cx:pt idx="435">1.2035679930849335</cx:pt>
          <cx:pt idx="436">1.1810035827065011</cx:pt>
          <cx:pt idx="437">1.1764855628395501</cx:pt>
          <cx:pt idx="438">1.176984391597661</cx:pt>
          <cx:pt idx="439">1.1336253576966704</cx:pt>
          <cx:pt idx="440">1.1721077421209134</cx:pt>
          <cx:pt idx="441">1.2137201321308739</cx:pt>
          <cx:pt idx="442">1.2335800683158908</cx:pt>
          <cx:pt idx="443">1.2363885146424589</cx:pt>
          <cx:pt idx="444">1.235547068767429</cx:pt>
          <cx:pt idx="445">1.2354227868894083</cx:pt>
          <cx:pt idx="446">1.2257517333571091</cx:pt>
          <cx:pt idx="447">1.1864562759004886</cx:pt>
          <cx:pt idx="448">1.198523733509248</cx:pt>
          <cx:pt idx="449">1.2071314081570159</cx:pt>
          <cx:pt idx="450">1.2081334576994809</cx:pt>
          <cx:pt idx="451">1.1924375504939273</cx:pt>
          <cx:pt idx="452">1.2078678450819011</cx:pt>
          <cx:pt idx="453">1.2623360321501229</cx:pt>
          <cx:pt idx="454">1.2593129207063927</cx:pt>
          <cx:pt idx="455">1.2353993738476745</cx:pt>
          <cx:pt idx="456">1.2362750155117164</cx:pt>
          <cx:pt idx="457">1.2795174661709623</cx:pt>
          <cx:pt idx="458">1.3048057573892482</cx:pt>
          <cx:pt idx="459">1.2844965542380653</cx:pt>
          <cx:pt idx="460">1.2406111050520603</cx:pt>
          <cx:pt idx="461">1.2005426192539612</cx:pt>
          <cx:pt idx="462">1.1903120581170825</cx:pt>
          <cx:pt idx="463">1.1993077752541033</cx:pt>
          <cx:pt idx="464">1.1929988418096389</cx:pt>
          <cx:pt idx="465">1.1923269920260879</cx:pt>
          <cx:pt idx="466">1.2096304420985826</cx:pt>
          <cx:pt idx="467">1.2106162120602983</cx:pt>
          <cx:pt idx="468">1.2446700992286983</cx:pt>
          <cx:pt idx="469">1.2771420547288344</cx:pt>
          <cx:pt idx="470">1.3206835147894285</cx:pt>
          <cx:pt idx="471">1.3116756909692158</cx:pt>
          <cx:pt idx="472">1.2731686827061273</cx:pt>
          <cx:pt idx="473">1.2722823450757297</cx:pt>
          <cx:pt idx="474">1.2639045152446895</cx:pt>
          <cx:pt idx="475">1.2304983691818285</cx:pt>
          <cx:pt idx="476">1.2294895347781665</cx:pt>
          <cx:pt idx="477">1.2460489815878542</cx:pt>
          <cx:pt idx="478">1.2731854893622456</cx:pt>
          <cx:pt idx="479">1.2676554431629459</cx:pt>
          <cx:pt idx="480">1.2689020738883987</cx:pt>
          <cx:pt idx="481">1.2524919676517923</cx:pt>
          <cx:pt idx="482">1.2540455823376777</cx:pt>
          <cx:pt idx="483">1.2783113020490107</cx:pt>
          <cx:pt idx="484">1.2274508947101435</cx:pt>
          <cx:pt idx="485">1.2283308019991133</cx:pt>
          <cx:pt idx="486">1.2359771720757928</cx:pt>
          <cx:pt idx="487">1.2100654030133633</cx:pt>
          <cx:pt idx="488">1.1530381560240373</cx:pt>
          <cx:pt idx="489">1.1248506710928632</cx:pt>
          <cx:pt idx="490">1.1093101605313387</cx:pt>
          <cx:pt idx="491">1.1285015281003088</cx:pt>
          <cx:pt idx="492">1.1274565532959098</cx:pt>
          <cx:pt idx="493">1.139882091619874</cx:pt>
          <cx:pt idx="494">1.138367251812876</cx:pt>
          <cx:pt idx="495">1.146283194193443</cx:pt>
          <cx:pt idx="496">1.2075219448572472</cx:pt>
          <cx:pt idx="497">1.147076695882433</cx:pt>
          <cx:pt idx="498">1.1473904942244202</cx:pt>
          <cx:pt idx="499">1.0887414061485705</cx:pt>
          <cx:pt idx="500">1.0757477019634158</cx:pt>
          <cx:pt idx="501">1.0802993412321731</cx:pt>
          <cx:pt idx="502">1.0632816922101347</cx:pt>
          <cx:pt idx="503">1.0637376788768771</cx:pt>
          <cx:pt idx="504">1.0451597603865082</cx:pt>
          <cx:pt idx="505">1.0289695231492004</cx:pt>
          <cx:pt idx="506">1.0556274187950161</cx:pt>
          <cx:pt idx="507">1.0494211410024084</cx:pt>
          <cx:pt idx="508">1.0071236589992956</cx:pt>
          <cx:pt idx="509">0.99533481695832515</cx:pt>
          <cx:pt idx="510">1.0525712501104805</cx:pt>
          <cx:pt idx="511">1.045875051646187</cx:pt>
          <cx:pt idx="512">1.0860359011076126</cx:pt>
          <cx:pt idx="513">1.1380708067999648</cx:pt>
          <cx:pt idx="514">1.1042255107063152</cx:pt>
          <cx:pt idx="515">1.0904466875985379</cx:pt>
          <cx:pt idx="516">1.0958951758992004</cx:pt>
          <cx:pt idx="517">1.1115686871428863</cx:pt>
          <cx:pt idx="518">1.1438208935664445</cx:pt>
          <cx:pt idx="519">1.1592978037801427</cx:pt>
          <cx:pt idx="520">1.1697148811679732</cx:pt>
          <cx:pt idx="521">1.2238816268574095</cx:pt>
          <cx:pt idx="522">1.215339945363312</cx:pt>
          <cx:pt idx="523">1.2266184831583966</cx:pt>
          <cx:pt idx="524">1.2328441633810798</cx:pt>
          <cx:pt idx="525">1.2308277658743776</cx:pt>
          <cx:pt idx="526">1.1997387708495417</cx:pt>
          <cx:pt idx="527">1.2044707935326275</cx:pt>
          <cx:pt idx="528">1.236715299162582</cx:pt>
          <cx:pt idx="529">1.2391972774635676</cx:pt>
          <cx:pt idx="530">1.2347534689290236</cx:pt>
          <cx:pt idx="531">1.2123304670304722</cx:pt>
          <cx:pt idx="532">1.2335255008674617</cx:pt>
          <cx:pt idx="533">1.2410242907866791</cx:pt>
          <cx:pt idx="534">1.2452736452735609</cx:pt>
          <cx:pt idx="535">1.2387196824192723</cx:pt>
          <cx:pt idx="536">1.2387889507563947</cx:pt>
          <cx:pt idx="537">1.1958790351313406</cx:pt>
          <cx:pt idx="538">1.2630195087843621</cx:pt>
          <cx:pt idx="539">1.247872770603198</cx:pt>
          <cx:pt idx="540">1.2205602450628792</cx:pt>
          <cx:pt idx="541">1.1982146216642038</cx:pt>
          <cx:pt idx="542">1.1663515396219499</cx:pt>
          <cx:pt idx="543">1.1369364609022929</cx:pt>
          <cx:pt idx="544">1.1039617805446098</cx:pt>
          <cx:pt idx="545">1.1222678652132572</cx:pt>
          <cx:pt idx="546">1.173384957319854</cx:pt>
          <cx:pt idx="547">1.1836084792945951</cx:pt>
          <cx:pt idx="548">1.1605905059841928</cx:pt>
          <cx:pt idx="549">1.1175907266338889</cx:pt>
          <cx:pt idx="550">1.1045692003127596</cx:pt>
          <cx:pt idx="551">1.0518878062746269</cx:pt>
          <cx:pt idx="552">1.0120849341722731</cx:pt>
          <cx:pt idx="553">1.0218236912080179</cx:pt>
          <cx:pt idx="554">1.0100276798080807</cx:pt>
          <cx:pt idx="555">1.0054215400110942</cx:pt>
          <cx:pt idx="556">1.0204474034587998</cx:pt>
          <cx:pt idx="557">1.0220720047020655</cx:pt>
          <cx:pt idx="558">1.0827697458742764</cx:pt>
          <cx:pt idx="559">1.0499625185322476</cx:pt>
          <cx:pt idx="560">1.067930769775016</cx:pt>
          <cx:pt idx="561">1.0684002713332428</cx:pt>
          <cx:pt idx="562">1.072807792262801</cx:pt>
          <cx:pt idx="563">1.0959713127083071</cx:pt>
          <cx:pt idx="564">1.1262359041639356</cx:pt>
          <cx:pt idx="565">1.1218347107660602</cx:pt>
          <cx:pt idx="566">1.1409463153994828</cx:pt>
          <cx:pt idx="567">1.1650835956901275</cx:pt>
          <cx:pt idx="568">1.1762299899455511</cx:pt>
          <cx:pt idx="569">1.146512055092801</cx:pt>
          <cx:pt idx="570">1.163126302556573</cx:pt>
          <cx:pt idx="571">1.1403269668818017</cx:pt>
          <cx:pt idx="572">1.1786119957641443</cx:pt>
          <cx:pt idx="573">1.2557491017124454</cx:pt>
          <cx:pt idx="574">1.2727889113687412</cx:pt>
          <cx:pt idx="575">1.3157111818246794</cx:pt>
          <cx:pt idx="576">1.3159569885444298</cx:pt>
          <cx:pt idx="577">1.3219573301720817</cx:pt>
          <cx:pt idx="578">1.3239876229808385</cx:pt>
          <cx:pt idx="579">1.3260503242206121</cx:pt>
          <cx:pt idx="580">1.3107837268194258</cx:pt>
          <cx:pt idx="581">1.3460479788218256</cx:pt>
          <cx:pt idx="582">1.3442524404500493</cx:pt>
          <cx:pt idx="583">1.2495864262063423</cx:pt>
          <cx:pt idx="584">1.1923377236805965</cx:pt>
          <cx:pt idx="585">1.2010649396461921</cx:pt>
          <cx:pt idx="586">1.0880931332687778</cx:pt>
          <cx:pt idx="587">1.1010690797037073</cx:pt>
          <cx:pt idx="588">1.0387633259370621</cx:pt>
          <cx:pt idx="589">1.0562673170941574</cx:pt>
          <cx:pt idx="590">1.0789483131112401</cx:pt>
          <cx:pt idx="591">1.0876297599016198</cx:pt>
          <cx:pt idx="592">1.1155368060227313</cx:pt>
          <cx:pt idx="593">1.1211182973081559</cx:pt>
          <cx:pt idx="594">1.1167021339255949</cx:pt>
          <cx:pt idx="595">1.1438268159761928</cx:pt>
          <cx:pt idx="596">1.0883591279526477</cx:pt>
          <cx:pt idx="597">1.0907785519812738</cx:pt>
          <cx:pt idx="598">1.1040265502495457</cx:pt>
          <cx:pt idx="599">0.98158780740997031</cx:pt>
          <cx:pt idx="600">0.99742658123103767</cx:pt>
          <cx:pt idx="601">0.88247696366412198</cx:pt>
          <cx:pt idx="602">0.8270496858083547</cx:pt>
          <cx:pt idx="603">0.83092460483772568</cx:pt>
          <cx:pt idx="604">0.82264927396612242</cx:pt>
          <cx:pt idx="605">0.82796083227707418</cx:pt>
          <cx:pt idx="606">0.84922228811051281</cx:pt>
          <cx:pt idx="607">0.84504628619173916</cx:pt>
          <cx:pt idx="608">0.87154096628556577</cx:pt>
          <cx:pt idx="609">0.86669673231554911</cx:pt>
          <cx:pt idx="610">0.89714541322637187</cx:pt>
          <cx:pt idx="611">0.90801567889452139</cx:pt>
          <cx:pt idx="612">0.91096274253098253</cx:pt>
          <cx:pt idx="613">0.89700876873238811</cx:pt>
          <cx:pt idx="614">0.90614473433877663</cx:pt>
          <cx:pt idx="615">0.88901806409069628</cx:pt>
          <cx:pt idx="616">0.92624574643865343</cx:pt>
          <cx:pt idx="617">1.0877129997809494</cx:pt>
          <cx:pt idx="618">1.1371938675850817</cx:pt>
          <cx:pt idx="619">1.2283239739361251</cx:pt>
          <cx:pt idx="620">1.2257170821977621</cx:pt>
          <cx:pt idx="621">1.2139438969516816</cx:pt>
          <cx:pt idx="622">1.2073700201642394</cx:pt>
          <cx:pt idx="623">1.2164469679383685</cx:pt>
          <cx:pt idx="624">1.2280984514490729</cx:pt>
          <cx:pt idx="625">1.2271169112918674</cx:pt>
          <cx:pt idx="626">1.2428699877507752</cx:pt>
          <cx:pt idx="627">1.309487710715961</cx:pt>
          <cx:pt idx="628">1.3911898674558505</cx:pt>
          <cx:pt idx="629">1.3946537705771083</cx:pt>
          <cx:pt idx="630">1.3926136949009966</cx:pt>
          <cx:pt idx="631">1.3683260317016035</cx:pt>
          <cx:pt idx="632">1.4251351944923134</cx:pt>
          <cx:pt idx="633">1.4631338438985306</cx:pt>
          <cx:pt idx="634">1.4640868562283604</cx:pt>
          <cx:pt idx="635">1.4167121561324059</cx:pt>
          <cx:pt idx="636">1.3821598339018581</cx:pt>
          <cx:pt idx="637">1.4013180431524155</cx:pt>
          <cx:pt idx="638">1.3567425410079264</cx:pt>
          <cx:pt idx="639">1.2747676153394696</cx:pt>
          <cx:pt idx="640">1.2734429666252471</cx:pt>
          <cx:pt idx="641">1.3081403528657385</cx:pt>
          <cx:pt idx="642">1.2445132053455958</cx:pt>
          <cx:pt idx="643">1.1504330180554874</cx:pt>
          <cx:pt idx="644">1.0866504715463143</cx:pt>
          <cx:pt idx="645">1.096711310657791</cx:pt>
          <cx:pt idx="646">1.0818903209968491</cx:pt>
          <cx:pt idx="647">1.0866552212603919</cx:pt>
          <cx:pt idx="648">1.0678978445767235</cx:pt>
          <cx:pt idx="649">1.0616970590339267</cx:pt>
          <cx:pt idx="650">1.0453479124504506</cx:pt>
          <cx:pt idx="651">1.0450130420547463</cx:pt>
          <cx:pt idx="652">1.0502355086626585</cx:pt>
          <cx:pt idx="653">0.99305881318863076</cx:pt>
          <cx:pt idx="654">0.99129013363003726</cx:pt>
          <cx:pt idx="655">1.0150038932072158</cx:pt>
          <cx:pt idx="656">1.0359913438422774</cx:pt>
          <cx:pt idx="657">1.0258907485482984</cx:pt>
          <cx:pt idx="658">1.0081462814151434</cx:pt>
          <cx:pt idx="659">0.95996471709355802</cx:pt>
          <cx:pt idx="660">1.0002844756658298</cx:pt>
          <cx:pt idx="661">1.0027822585509356</cx:pt>
          <cx:pt idx="662">1.0060532917328242</cx:pt>
          <cx:pt idx="663">0.97456204666285784</cx:pt>
          <cx:pt idx="664">0.94779642567174127</cx:pt>
          <cx:pt idx="665">0.94663944380061593</cx:pt>
          <cx:pt idx="666">0.95673526410987775</cx:pt>
          <cx:pt idx="667">0.95757478160485787</cx:pt>
          <cx:pt idx="668">0.94311449264474723</cx:pt>
          <cx:pt idx="669">0.99129685884985586</cx:pt>
          <cx:pt idx="670">1.0119412835191191</cx:pt>
          <cx:pt idx="671">0.97683766714689546</cx:pt>
          <cx:pt idx="672">0.9432864078909583</cx:pt>
          <cx:pt idx="673">0.94427283281671226</cx:pt>
          <cx:pt idx="674">0.93017803822477907</cx:pt>
          <cx:pt idx="675">0.96214254638795194</cx:pt>
          <cx:pt idx="676">0.95485910687310005</cx:pt>
          <cx:pt idx="677">0.94019478649859556</cx:pt>
          <cx:pt idx="678">0.95576271406212421</cx:pt>
          <cx:pt idx="679">0.92137158160964006</cx:pt>
          <cx:pt idx="680">0.93165351905624905</cx:pt>
          <cx:pt idx="681">0.92955810984031151</cx:pt>
          <cx:pt idx="682">0.93004277852820993</cx:pt>
          <cx:pt idx="683">0.97347211413026469</cx:pt>
          <cx:pt idx="684">0.97857027593639723</cx:pt>
          <cx:pt idx="685">0.97401055391601621</cx:pt>
          <cx:pt idx="686">0.97773734846360716</cx:pt>
          <cx:pt idx="687">0.93187266655196344</cx:pt>
          <cx:pt idx="688">0.96056020840887169</cx:pt>
          <cx:pt idx="689">0.99689474859934268</cx:pt>
          <cx:pt idx="690">0.99738604598780256</cx:pt>
          <cx:pt idx="691">0.96802003889326826</cx:pt>
          <cx:pt idx="692">0.96389443048410617</cx:pt>
          <cx:pt idx="693">0.95082669180532697</cx:pt>
          <cx:pt idx="694">1.0017775599253023</cx:pt>
          <cx:pt idx="695">1.0085349749507573</cx:pt>
          <cx:pt idx="696">0.98820615149343316</cx:pt>
          <cx:pt idx="697">0.96808646196993298</cx:pt>
          <cx:pt idx="698">1.0204226406697363</cx:pt>
          <cx:pt idx="699">1.004603382927435</cx:pt>
          <cx:pt idx="700">0.95260886827384639</cx:pt>
          <cx:pt idx="701">0.95988865841780835</cx:pt>
          <cx:pt idx="702">0.96322442365348082</cx:pt>
          <cx:pt idx="703">0.97985362084322059</cx:pt>
          <cx:pt idx="704">1.0315695317935341</cx:pt>
          <cx:pt idx="705">1.0363178198100784</cx:pt>
          <cx:pt idx="706">1.0278705411978522</cx:pt>
          <cx:pt idx="707">1.0239009318677124</cx:pt>
          <cx:pt idx="708">1.0580176228790241</cx:pt>
          <cx:pt idx="709">1.048003939908871</cx:pt>
          <cx:pt idx="710">1.0479080030211141</cx:pt>
          <cx:pt idx="711">1.0513042590807338</cx:pt>
          <cx:pt idx="712">1.0762582533746208</cx:pt>
          <cx:pt idx="713">1.117368163544687</cx:pt>
          <cx:pt idx="714">1.0760943916706129</cx:pt>
          <cx:pt idx="715">1.0899078583921424</cx:pt>
          <cx:pt idx="716">1.1257936746355715</cx:pt>
          <cx:pt idx="717">1.1496194788870617</cx:pt>
          <cx:pt idx="718">1.1537890826801183</cx:pt>
          <cx:pt idx="719">1.1380755308759145</cx:pt>
          <cx:pt idx="720">1.1077977766625526</cx:pt>
          <cx:pt idx="721">1.0984702951137606</cx:pt>
          <cx:pt idx="722">1.0933151716299054</cx:pt>
          <cx:pt idx="723">1.1523112818690016</cx:pt>
          <cx:pt idx="724">1.1591109867350466</cx:pt>
          <cx:pt idx="725">1.1383721635720454</cx:pt>
          <cx:pt idx="726">1.1286273897731869</cx:pt>
          <cx:pt idx="727">1.129172215595619</cx:pt>
          <cx:pt idx="728">1.1692189286980461</cx:pt>
          <cx:pt idx="729">1.1556489588664169</cx:pt>
          <cx:pt idx="730">1.1920897887810842</cx:pt>
          <cx:pt idx="731">1.208542799790199</cx:pt>
          <cx:pt idx="732">1.2079638070487817</cx:pt>
          <cx:pt idx="733">1.2583613683411197</cx:pt>
          <cx:pt idx="734">1.2573748895628651</cx:pt>
          <cx:pt idx="735">1.2478205516147982</cx:pt>
          <cx:pt idx="736">1.2517592781052522</cx:pt>
          <cx:pt idx="737">1.2590008839577729</cx:pt>
          <cx:pt idx="738">1.2581381533453422</cx:pt>
          <cx:pt idx="739">1.2260664438484499</cx:pt>
          <cx:pt idx="740">1.2257315568518119</cx:pt>
          <cx:pt idx="741">1.2269306927170678</cx:pt>
          <cx:pt idx="742">1.2119603776482335</cx:pt>
          <cx:pt idx="743">1.1934483334988508</cx:pt>
          <cx:pt idx="744">1.1899893376227852</cx:pt>
          <cx:pt idx="745">1.2426426055633579</cx:pt>
          <cx:pt idx="746">1.2433405402080042</cx:pt>
          <cx:pt idx="747">1.2383829206124077</cx:pt>
          <cx:pt idx="748">1.2028321417763674</cx:pt>
          <cx:pt idx="749">1.204412318210863</cx:pt>
          <cx:pt idx="750">1.2154825582715558</cx:pt>
          <cx:pt idx="751">1.2071097624054841</cx:pt>
          <cx:pt idx="752">1.2155906569076989</cx:pt>
          <cx:pt idx="753">1.2173933019418595</cx:pt>
          <cx:pt idx="754">1.1763150042600461</cx:pt>
          <cx:pt idx="755">1.1658283316701181</cx:pt>
          <cx:pt idx="756">1.1392891577410171</cx:pt>
          <cx:pt idx="757">1.1514592891733759</cx:pt>
          <cx:pt idx="758">1.1699881444119493</cx:pt>
          <cx:pt idx="759">1.1329356671084425</cx:pt>
          <cx:pt idx="760">1.125488854360772</cx:pt>
          <cx:pt idx="761">1.0716509221405686</cx:pt>
          <cx:pt idx="762">1.0773599751842611</cx:pt>
          <cx:pt idx="763">1.0765468490871959</cx:pt>
          <cx:pt idx="764">1.0467280305277358</cx:pt>
          <cx:pt idx="765">1.0860869883377475</cx:pt>
          <cx:pt idx="766">1.0653691368954994</cx:pt>
          <cx:pt idx="767">1.058535710055341</cx:pt>
          <cx:pt idx="768">1.0729798723422599</cx:pt>
          <cx:pt idx="769">1.0745381603575164</cx:pt>
          <cx:pt idx="770">1.0782405022281256</cx:pt>
          <cx:pt idx="771">1.094902362220348</cx:pt>
          <cx:pt idx="772">1.0954114462425244</cx:pt>
          <cx:pt idx="773">1.0930217560230833</cx:pt>
          <cx:pt idx="774">1.0927033655852303</cx:pt>
          <cx:pt idx="775">1.0468929965553107</cx:pt>
          <cx:pt idx="776">1.0504968614488943</cx:pt>
          <cx:pt idx="777">1.0174067815479626</cx:pt>
          <cx:pt idx="778">0.95838697372087045</cx:pt>
          <cx:pt idx="779">0.9592961129172074</cx:pt>
          <cx:pt idx="780">0.97707287233320606</cx:pt>
          <cx:pt idx="781">0.95628447650267734</cx:pt>
          <cx:pt idx="782">0.95729401332975461</cx:pt>
          <cx:pt idx="783">0.97516637676121254</cx:pt>
          <cx:pt idx="784">0.9754071661541891</cx:pt>
          <cx:pt idx="785">0.98928506823693585</cx:pt>
          <cx:pt idx="786">1.063954178817704</cx:pt>
          <cx:pt idx="787">1.0599932034677622</cx:pt>
          <cx:pt idx="788">1.0543609387905599</cx:pt>
          <cx:pt idx="789">1.0571941968685183</cx:pt>
          <cx:pt idx="790">1.0645904861616065</cx:pt>
          <cx:pt idx="791">1.0331662369233128</cx:pt>
          <cx:pt idx="792">1.0512749044522949</cx:pt>
          <cx:pt idx="793">1.0098208081219797</cx:pt>
          <cx:pt idx="794">1.0378837028517021</cx:pt>
          <cx:pt idx="795">1.0290440286514591</cx:pt>
          <cx:pt idx="796">0.96764963000644599</cx:pt>
          <cx:pt idx="797">1.027837065034173</cx:pt>
          <cx:pt idx="798">1.041856799851999</cx:pt>
          <cx:pt idx="799">0.97896269438076433</cx:pt>
          <cx:pt idx="800">0.96681930570943375</cx:pt>
          <cx:pt idx="801">0.97309262010963105</cx:pt>
          <cx:pt idx="802">0.95381633001215083</cx:pt>
          <cx:pt idx="803">0.99623851702074717</cx:pt>
          <cx:pt idx="804">1.0000236556341833</cx:pt>
          <cx:pt idx="805">1.0489122886339499</cx:pt>
          <cx:pt idx="806">1.1266846406913922</cx:pt>
          <cx:pt idx="807">1.0880934297329234</cx:pt>
          <cx:pt idx="808">1.1006899107241295</cx:pt>
          <cx:pt idx="809">1.1001305885339052</cx:pt>
          <cx:pt idx="810">1.1410338643396576</cx:pt>
          <cx:pt idx="811">1.1153815105059317</cx:pt>
          <cx:pt idx="812">1.1093162671867569</cx:pt>
          <cx:pt idx="813">1.1133881256235714</cx:pt>
          <cx:pt idx="814">1.1613427526993532</cx:pt>
          <cx:pt idx="815">1.1658843152556515</cx:pt>
          <cx:pt idx="816">1.1992412475780143</cx:pt>
          <cx:pt idx="817">1.1677014458613411</cx:pt>
          <cx:pt idx="818">1.1850265638327468</cx:pt>
          <cx:pt idx="819">1.180719937111453</cx:pt>
          <cx:pt idx="820">1.1584972654169257</cx:pt>
          <cx:pt idx="821">1.1756525527260098</cx:pt>
          <cx:pt idx="822">1.1848178481662628</cx:pt>
          <cx:pt idx="823">1.1941604330176687</cx:pt>
          <cx:pt idx="824">1.1943445586308765</cx:pt>
          <cx:pt idx="825">1.1446359237108819</cx:pt>
          <cx:pt idx="826">1.1459346563217034</cx:pt>
          <cx:pt idx="827">1.1802335289237036</cx:pt>
          <cx:pt idx="828">1.1962510435271458</cx:pt>
          <cx:pt idx="829">1.2245066594918077</cx:pt>
          <cx:pt idx="830">1.2023518172619525</cx:pt>
          <cx:pt idx="831">1.232185574628506</cx:pt>
          <cx:pt idx="832">1.2138143026387207</cx:pt>
          <cx:pt idx="833">1.2522045076712747</cx:pt>
          <cx:pt idx="834">1.226603405334624</cx:pt>
          <cx:pt idx="835">1.2279630830498671</cx:pt>
          <cx:pt idx="836">1.2148709387624119</cx:pt>
          <cx:pt idx="837">1.1722097503965456</cx:pt>
          <cx:pt idx="838">1.1559061985234558</cx:pt>
          <cx:pt idx="839">1.1189363228636635</cx:pt>
          <cx:pt idx="840">1.1463859058629824</cx:pt>
          <cx:pt idx="841">1.1760745715512528</cx:pt>
          <cx:pt idx="842">1.1688936042534055</cx:pt>
          <cx:pt idx="843">1.1612107141172292</cx:pt>
          <cx:pt idx="844">1.2060670999004848</cx:pt>
          <cx:pt idx="845">1.1682235387797748</cx:pt>
          <cx:pt idx="846">1.1749148676549122</cx:pt>
          <cx:pt idx="847">1.1897954102616006</cx:pt>
          <cx:pt idx="848">1.1767585330734978</cx:pt>
          <cx:pt idx="849">1.1900751760839241</cx:pt>
          <cx:pt idx="850">1.1898377950353669</cx:pt>
          <cx:pt idx="851">1.1934658123135702</cx:pt>
          <cx:pt idx="852">1.1726940768373746</cx:pt>
          <cx:pt idx="853">1.1649244749158911</cx:pt>
          <cx:pt idx="854">1.1378675584817246</cx:pt>
          <cx:pt idx="855">1.1736681768060819</cx:pt>
          <cx:pt idx="856">1.1957864195960424</cx:pt>
          <cx:pt idx="857">1.2071542114918796</cx:pt>
          <cx:pt idx="858">1.1691289837503651</cx:pt>
          <cx:pt idx="859">1.1750374050326255</cx:pt>
          <cx:pt idx="860">1.1586956886623563</cx:pt>
          <cx:pt idx="861">1.194819012703715</cx:pt>
          <cx:pt idx="862">1.1663600211447285</cx:pt>
          <cx:pt idx="863">1.1619625593139018</cx:pt>
          <cx:pt idx="864">1.1159710560088298</cx:pt>
          <cx:pt idx="865">1.0804887384783308</cx:pt>
          <cx:pt idx="866">1.0868454896072257</cx:pt>
          <cx:pt idx="867">1.0919149598617526</cx:pt>
          <cx:pt idx="868">1.092146845063793</cx:pt>
          <cx:pt idx="869">1.0780628784502662</cx:pt>
          <cx:pt idx="870">1.0834464126260506</cx:pt>
          <cx:pt idx="871">1.0760126513226749</cx:pt>
          <cx:pt idx="872">1.0797436971860053</cx:pt>
          <cx:pt idx="873">1.0694777139544152</cx:pt>
          <cx:pt idx="874">1.123271048973651</cx:pt>
          <cx:pt idx="875">1.0969224789068659</cx:pt>
          <cx:pt idx="876">1.1001605943376327</cx:pt>
          <cx:pt idx="877">1.0983059291374579</cx:pt>
          <cx:pt idx="878">1.061492457137186</cx:pt>
          <cx:pt idx="879">1.0916393906138533</cx:pt>
          <cx:pt idx="880">1.0619001026259436</cx:pt>
          <cx:pt idx="881">1.1193345757516464</cx:pt>
          <cx:pt idx="882">1.1129083278673761</cx:pt>
          <cx:pt idx="883">1.1292982881665561</cx:pt>
          <cx:pt idx="884">1.1419550299037964</cx:pt>
          <cx:pt idx="885">1.1366527921456371</cx:pt>
          <cx:pt idx="886">1.1316767462771848</cx:pt>
          <cx:pt idx="887">1.1424171695345406</cx:pt>
          <cx:pt idx="888">1.1767717824442376</cx:pt>
          <cx:pt idx="889">1.1790502830212426</cx:pt>
          <cx:pt idx="890">1.165924341410056</cx:pt>
          <cx:pt idx="891">1.158712949321242</cx:pt>
          <cx:pt idx="892">1.1364825001372787</cx:pt>
          <cx:pt idx="893">1.1822996545369873</cx:pt>
          <cx:pt idx="894">1.1872948379648858</cx:pt>
          <cx:pt idx="895">1.2290493747573354</cx:pt>
          <cx:pt idx="896">1.2343118756828082</cx:pt>
          <cx:pt idx="897">1.2423146104742746</cx:pt>
          <cx:pt idx="898">1.2293427739707008</cx:pt>
          <cx:pt idx="899">1.2686918162939265</cx:pt>
          <cx:pt idx="900">1.2863481693939729</cx:pt>
          <cx:pt idx="901">1.2806617912844565</cx:pt>
          <cx:pt idx="902">1.2651755796377935</cx:pt>
          <cx:pt idx="903">1.2750097617167946</cx:pt>
          <cx:pt idx="904">1.2679652652886408</cx:pt>
          <cx:pt idx="905">1.22312590899192</cx:pt>
          <cx:pt idx="906">1.2539556336580631</cx:pt>
          <cx:pt idx="907">1.2547401735920489</cx:pt>
          <cx:pt idx="908">1.2535347012794764</cx:pt>
          <cx:pt idx="909">1.2489900436081374</cx:pt>
          <cx:pt idx="910">1.2562255293716811</cx:pt>
          <cx:pt idx="911">1.2703660466468387</cx:pt>
          <cx:pt idx="912">1.2483448827293513</cx:pt>
          <cx:pt idx="913">1.2518422553413284</cx:pt>
          <cx:pt idx="914">1.2341574114062728</cx:pt>
          <cx:pt idx="915">1.2658517469124455</cx:pt>
          <cx:pt idx="916">1.3028828250898001</cx:pt>
          <cx:pt idx="917">1.2798434043995173</cx:pt>
          <cx:pt idx="918">1.2506771499205274</cx:pt>
          <cx:pt idx="919">1.2223968171157118</cx:pt>
          <cx:pt idx="920">1.2188685922449927</cx:pt>
          <cx:pt idx="921">1.2325392096099035</cx:pt>
          <cx:pt idx="922">1.2261939540314271</cx:pt>
          <cx:pt idx="923">1.2205902855427329</cx:pt>
          <cx:pt idx="924">1.1601370886736313</cx:pt>
          <cx:pt idx="925">1.1467360881711091</cx:pt>
          <cx:pt idx="926">1.1228273644343467</cx:pt>
          <cx:pt idx="927">1.1798559234075998</cx:pt>
          <cx:pt idx="928">1.199862088849408</cx:pt>
          <cx:pt idx="929">1.2513512696281568</cx:pt>
          <cx:pt idx="930">1.2209050054193671</cx:pt>
          <cx:pt idx="931">1.2106456111095951</cx:pt>
          <cx:pt idx="932">1.2271803506018284</cx:pt>
          <cx:pt idx="933">1.2268873106843516</cx:pt>
          <cx:pt idx="934">1.221400130821138</cx:pt>
          <cx:pt idx="935">1.2510467875008231</cx:pt>
          <cx:pt idx="936">1.2565238788278226</cx:pt>
          <cx:pt idx="937">1.2348011898660545</cx:pt>
          <cx:pt idx="938">1.2084115584616262</cx:pt>
          <cx:pt idx="939">1.2776845657134492</cx:pt>
          <cx:pt idx="940">1.2897738403068133</cx:pt>
          <cx:pt idx="941">1.3026516381299265</cx:pt>
          <cx:pt idx="942">1.3243531186189348</cx:pt>
          <cx:pt idx="943">1.3098066015001348</cx:pt>
          <cx:pt idx="944">1.3190733958563161</cx:pt>
          <cx:pt idx="945">1.3209909118715812</cx:pt>
          <cx:pt idx="946">1.2781323740487125</cx:pt>
          <cx:pt idx="947">1.2476880986039136</cx:pt>
          <cx:pt idx="948">1.2381371716873613</cx:pt>
          <cx:pt idx="949">1.2778288037185979</cx:pt>
          <cx:pt idx="950">1.2638927748177686</cx:pt>
          <cx:pt idx="951">1.2687339384014336</cx:pt>
          <cx:pt idx="952">1.2264538443243858</cx:pt>
          <cx:pt idx="953">1.220274162742973</cx:pt>
          <cx:pt idx="954">1.2009794390010284</cx:pt>
          <cx:pt idx="955">1.2046789604909109</cx:pt>
          <cx:pt idx="956">1.2162614143172463</cx:pt>
          <cx:pt idx="957">1.2315482868307268</cx:pt>
          <cx:pt idx="958">1.2244908531558596</cx:pt>
          <cx:pt idx="959">1.2265369555075807</cx:pt>
          <cx:pt idx="960">1.2290394885910412</cx:pt>
          <cx:pt idx="961">1.2430859104040879</cx:pt>
          <cx:pt idx="962">1.2702565146076696</cx:pt>
          <cx:pt idx="963">1.256648127412376</cx:pt>
          <cx:pt idx="964">1.2626176087028289</cx:pt>
          <cx:pt idx="965">1.2338540894200145</cx:pt>
          <cx:pt idx="966">1.2072858566987958</cx:pt>
          <cx:pt idx="967">1.2060532808002438</cx:pt>
          <cx:pt idx="968">1.1735699602549916</cx:pt>
          <cx:pt idx="969">1.1773249247742203</cx:pt>
          <cx:pt idx="970">1.1582650169379911</cx:pt>
          <cx:pt idx="971">1.1540594084706253</cx:pt>
          <cx:pt idx="972">1.1333040476924665</cx:pt>
          <cx:pt idx="973">1.1099169783928575</cx:pt>
          <cx:pt idx="974">1.1168340429848529</cx:pt>
          <cx:pt idx="975">1.0867511016738132</cx:pt>
          <cx:pt idx="976">1.0846086455392536</cx:pt>
          <cx:pt idx="977">1.1226700125100193</cx:pt>
          <cx:pt idx="978">1.1803852114084739</cx:pt>
          <cx:pt idx="979">1.180408895802773</cx:pt>
          <cx:pt idx="980">1.1440161289185591</cx:pt>
          <cx:pt idx="981">1.1564484005894107</cx:pt>
          <cx:pt idx="982">1.1590173813720743</cx:pt>
          <cx:pt idx="983">1.1769022579344399</cx:pt>
          <cx:pt idx="984">1.151528670754616</cx:pt>
          <cx:pt idx="985">1.165288740811635</cx:pt>
          <cx:pt idx="986">1.1886814779048167</cx:pt>
          <cx:pt idx="987">1.1826238369764692</cx:pt>
          <cx:pt idx="988">1.2074263039912181</cx:pt>
          <cx:pt idx="989">1.1684560164446036</cx:pt>
          <cx:pt idx="990">1.1330011530899813</cx:pt>
          <cx:pt idx="991">1.1027704115749399</cx:pt>
          <cx:pt idx="992">1.142165176462048</cx:pt>
          <cx:pt idx="993">1.117968203137194</cx:pt>
          <cx:pt idx="994">1.1340302095310477</cx:pt>
          <cx:pt idx="995">1.1288812617923139</cx:pt>
          <cx:pt idx="996">1.1284653200230053</cx:pt>
          <cx:pt idx="997">1.1639728962591038</cx:pt>
          <cx:pt idx="998">1.1584638512373422</cx:pt>
          <cx:pt idx="999">1.1296664271187042</cx:pt>
          <cx:pt idx="1000">1.1235383814644049</cx:pt>
          <cx:pt idx="1001">1.113531821853138</cx:pt>
          <cx:pt idx="1002">1.1355437331483418</cx:pt>
          <cx:pt idx="1003">1.1312192489731205</cx:pt>
          <cx:pt idx="1004">1.1327823771486267</cx:pt>
          <cx:pt idx="1005">1.1516958043712979</cx:pt>
          <cx:pt idx="1006">1.1803517791661284</cx:pt>
          <cx:pt idx="1007">1.2246523316163378</cx:pt>
          <cx:pt idx="1008">1.1942068047340533</cx:pt>
          <cx:pt idx="1009">1.127940744268352</cx:pt>
          <cx:pt idx="1010">1.1285445951427022</cx:pt>
          <cx:pt idx="1011">1.1027509101753092</cx:pt>
          <cx:pt idx="1012">1.1189114333578525</cx:pt>
          <cx:pt idx="1013">1.1645810543959847</cx:pt>
          <cx:pt idx="1014">1.1752353230379553</cx:pt>
          <cx:pt idx="1015">1.161770987741124</cx:pt>
          <cx:pt idx="1016">1.1439396179267347</cx:pt>
          <cx:pt idx="1017">1.1567061131757119</cx:pt>
          <cx:pt idx="1018">1.0965876691487237</cx:pt>
          <cx:pt idx="1019">1.1273300839947313</cx:pt>
          <cx:pt idx="1020">1.1323331133416044</cx:pt>
          <cx:pt idx="1021">1.1330132058944329</cx:pt>
          <cx:pt idx="1022">1.1417798782263502</cx:pt>
          <cx:pt idx="1023">1.1771008672212002</cx:pt>
          <cx:pt idx="1024">1.1771666365993301</cx:pt>
          <cx:pt idx="1025">1.1340243307776505</cx:pt>
          <cx:pt idx="1026">1.1540999379025483</cx:pt>
          <cx:pt idx="1027">1.1432758065718316</cx:pt>
          <cx:pt idx="1028">1.1269309354762307</cx:pt>
          <cx:pt idx="1029">1.0771776143715697</cx:pt>
          <cx:pt idx="1030">1.0955284481222571</cx:pt>
          <cx:pt idx="1031">1.1329442089728694</cx:pt>
          <cx:pt idx="1032">1.1770455084797098</cx:pt>
          <cx:pt idx="1033">1.1818226310165141</cx:pt>
          <cx:pt idx="1034">1.177065331958649</cx:pt>
          <cx:pt idx="1035">1.1093948752573681</cx:pt>
          <cx:pt idx="1036">0.99951880895877354</cx:pt>
          <cx:pt idx="1037">1.0000647290878681</cx:pt>
          <cx:pt idx="1038">1.0048003064858102</cx:pt>
          <cx:pt idx="1039">0.94802794750329522</cx:pt>
          <cx:pt idx="1040">0.89765872289846216</cx:pt>
          <cx:pt idx="1041">0.83881534487376774</cx:pt>
          <cx:pt idx="1042">0.81272540297763562</cx:pt>
          <cx:pt idx="1043">0.81530125047877677</cx:pt>
          <cx:pt idx="1044">0.85786155736977865</cx:pt>
          <cx:pt idx="1045">0.88381723406245327</cx:pt>
          <cx:pt idx="1046">0.86733258122338019</cx:pt>
          <cx:pt idx="1047">0.87100461092812997</cx:pt>
          <cx:pt idx="1048">0.86006176322351335</cx:pt>
          <cx:pt idx="1049">0.89353520428146616</cx:pt>
          <cx:pt idx="1050">0.89234811665085134</cx:pt>
          <cx:pt idx="1051">0.89119009473076782</cx:pt>
          <cx:pt idx="1052">0.87634455834804792</cx:pt>
          <cx:pt idx="1053">0.87670963548157455</cx:pt>
          <cx:pt idx="1054">0.89711389094882021</cx:pt>
          <cx:pt idx="1055">1.0012308554007159</cx:pt>
          <cx:pt idx="1056">1.0209606481942819</cx:pt>
          <cx:pt idx="1057">1.008539985933034</cx:pt>
          <cx:pt idx="1058">1.0638745378370809</cx:pt>
          <cx:pt idx="1059">1.1668296353150533</cx:pt>
          <cx:pt idx="1060">1.1642294973847052</cx:pt>
          <cx:pt idx="1061">1.2512812358469994</cx:pt>
          <cx:pt idx="1062">1.2197754949434403</cx:pt>
          <cx:pt idx="1063">1.2432396978203992</cx:pt>
          <cx:pt idx="1064">1.249393831518532</cx:pt>
          <cx:pt idx="1065">1.2807962073379124</cx:pt>
          <cx:pt idx="1066">1.3387549182665193</cx:pt>
          <cx:pt idx="1067">1.3500660278556347</cx:pt>
          <cx:pt idx="1068">1.3534763683086202</cx:pt>
          <cx:pt idx="1069">1.3561478493318164</cx:pt>
          <cx:pt idx="1070">1.3266961957053032</cx:pt>
          <cx:pt idx="1071">1.2819980205644554</cx:pt>
          <cx:pt idx="1072">1.3136333099911401</cx:pt>
          <cx:pt idx="1073">1.315702437189278</cx:pt>
          <cx:pt idx="1074">1.3034532299168404</cx:pt>
          <cx:pt idx="1075">1.2084887923726566</cx:pt>
          <cx:pt idx="1076">1.2395366806979529</cx:pt>
          <cx:pt idx="1077">1.2482519390034237</cx:pt>
          <cx:pt idx="1078">1.2437104562255361</cx:pt>
          <cx:pt idx="1079">1.2490825880733254</cx:pt>
          <cx:pt idx="1080">1.1672238915063495</cx:pt>
          <cx:pt idx="1081">1.1876515183471366</cx:pt>
          <cx:pt idx="1082">1.1362660978667327</cx:pt>
          <cx:pt idx="1083">1.0784200909075825</cx:pt>
          <cx:pt idx="1084">1.0152716676534341</cx:pt>
          <cx:pt idx="1085">1.0776532648026378</cx:pt>
          <cx:pt idx="1086">1.0880655617501487</cx:pt>
          <cx:pt idx="1087">1.0954231273608337</cx:pt>
          <cx:pt idx="1088">1.0771567512050721</cx:pt>
          <cx:pt idx="1089">1.0790352122369831</cx:pt>
          <cx:pt idx="1090">1.0954644519980543</cx:pt>
          <cx:pt idx="1091">1.0866514610717928</cx:pt>
          <cx:pt idx="1092">1.0649757430727393</cx:pt>
          <cx:pt idx="1093">1.0689076928874535</cx:pt>
          <cx:pt idx="1094">1.0516074740937764</cx:pt>
          <cx:pt idx="1095">1.0618536237540321</cx:pt>
          <cx:pt idx="1096">1.1228711279093753</cx:pt>
          <cx:pt idx="1097">1.0968816013188603</cx:pt>
          <cx:pt idx="1098">1.0955640762462457</cx:pt>
          <cx:pt idx="1099">1.1034814895817062</cx:pt>
          <cx:pt idx="1100">1.0971489935184255</cx:pt>
          <cx:pt idx="1101">1.1312883510994589</cx:pt>
          <cx:pt idx="1102">1.143802938136776</cx:pt>
          <cx:pt idx="1103">1.1216111683213685</cx:pt>
          <cx:pt idx="1104">1.1632166192183659</cx:pt>
          <cx:pt idx="1105">1.1536561795635474</cx:pt>
          <cx:pt idx="1106">1.1631072584347735</cx:pt>
          <cx:pt idx="1107">1.1249851611924597</cx:pt>
          <cx:pt idx="1108">1.1230167704298386</cx:pt>
          <cx:pt idx="1109">1.1291395525054715</cx:pt>
          <cx:pt idx="1110">1.0974177902930184</cx:pt>
          <cx:pt idx="1111">1.0518611257941746</cx:pt>
          <cx:pt idx="1112">1.0002297585517399</cx:pt>
          <cx:pt idx="1113">1.0020444692126038</cx:pt>
          <cx:pt idx="1114">0.99472522817604814</cx:pt>
          <cx:pt idx="1115">0.98579404160966433</cx:pt>
          <cx:pt idx="1116">0.98785572060457372</cx:pt>
          <cx:pt idx="1117">0.97019829477421482</cx:pt>
          <cx:pt idx="1118">0.98632008588893472</cx:pt>
          <cx:pt idx="1119">1.0203201057901232</cx:pt>
          <cx:pt idx="1120">1.0219233395064211</cx:pt>
          <cx:pt idx="1121">0.98518487976208124</cx:pt>
          <cx:pt idx="1122">1.0405217880457129</cx:pt>
          <cx:pt idx="1123">1.0385537918156293</cx:pt>
          <cx:pt idx="1124">1.0373118691977319</cx:pt>
          <cx:pt idx="1125">1.0494313872565171</cx:pt>
          <cx:pt idx="1126">1.045453238130849</cx:pt>
          <cx:pt idx="1127">0.98314045857665766</cx:pt>
          <cx:pt idx="1128">1.0059824278590999</cx:pt>
          <cx:pt idx="1129">1.005236932430648</cx:pt>
          <cx:pt idx="1130">1.0597415996668784</cx:pt>
          <cx:pt idx="1131">1.0657500766157368</cx:pt>
          <cx:pt idx="1132">1.0341869176532643</cx:pt>
          <cx:pt idx="1133">1.0178105322553361</cx:pt>
          <cx:pt idx="1134">1.0499795184894372</cx:pt>
          <cx:pt idx="1135">0.96865575851002017</cx:pt>
          <cx:pt idx="1136">0.99640633849742666</cx:pt>
          <cx:pt idx="1137">1.0222341124444829</cx:pt>
          <cx:pt idx="1138">1.0508528026813386</cx:pt>
          <cx:pt idx="1139">1.0404549253153172</cx:pt>
          <cx:pt idx="1140">1.0385052326683619</cx:pt>
          <cx:pt idx="1141">1.0513844431566535</cx:pt>
          <cx:pt idx="1142">1.0738275426705388</cx:pt>
          <cx:pt idx="1143">1.0743785400462105</cx:pt>
          <cx:pt idx="1144">1.0667298032389823</cx:pt>
          <cx:pt idx="1145">1.0743319004190759</cx:pt>
          <cx:pt idx="1146">1.1081115389687526</cx:pt>
          <cx:pt idx="1147">1.098612321184349</cx:pt>
          <cx:pt idx="1148">1.0966091431787466</cx:pt>
          <cx:pt idx="1149">1.0714182139796349</cx:pt>
          <cx:pt idx="1150">1.0899761267978521</cx:pt>
          <cx:pt idx="1151">1.1209128384481326</cx:pt>
          <cx:pt idx="1152">1.1228540823822926</cx:pt>
          <cx:pt idx="1153">1.0983829756921408</cx:pt>
          <cx:pt idx="1154">1.1253790759189228</cx:pt>
          <cx:pt idx="1155">1.1440305094059391</cx:pt>
          <cx:pt idx="1156">1.1882850206590085</cx:pt>
          <cx:pt idx="1157">1.207145393065806</cx:pt>
          <cx:pt idx="1158">1.2435723774933714</cx:pt>
          <cx:pt idx="1159">1.2208849249622176</cx:pt>
          <cx:pt idx="1160">1.2210260976665468</cx:pt>
          <cx:pt idx="1161">1.1819079708729034</cx:pt>
          <cx:pt idx="1162">1.1810249785673461</cx:pt>
          <cx:pt idx="1163">1.1881778766946753</cx:pt>
          <cx:pt idx="1164">1.2107446389082883</cx:pt>
          <cx:pt idx="1165">1.1785070745359076</cx:pt>
          <cx:pt idx="1166">1.2223511629607093</cx:pt>
          <cx:pt idx="1167">1.2020508460789587</cx:pt>
          <cx:pt idx="1168">1.2270923758726282</cx:pt>
          <cx:pt idx="1169">1.1937215683716615</cx:pt>
          <cx:pt idx="1170">1.1665038288817142</cx:pt>
          <cx:pt idx="1171">1.1598946930324026</cx:pt>
          <cx:pt idx="1172">1.1643559297666652</cx:pt>
          <cx:pt idx="1173">1.1820421548802642</cx:pt>
          <cx:pt idx="1174">1.1822681863757178</cx:pt>
          <cx:pt idx="1175">1.2054368770350978</cx:pt>
          <cx:pt idx="1176">1.219580484896255</cx:pt>
          <cx:pt idx="1177">1.216311275241486</cx:pt>
          <cx:pt idx="1178">1.2095961291682957</cx:pt>
          <cx:pt idx="1179">1.2096000405359268</cx:pt>
          <cx:pt idx="1180">1.2074585413306154</cx:pt>
          <cx:pt idx="1181">1.1899208431249639</cx:pt>
          <cx:pt idx="1182">1.1995053640061675</cx:pt>
          <cx:pt idx="1183">1.2382537999611702</cx:pt>
          <cx:pt idx="1184">1.2428568374030733</cx:pt>
          <cx:pt idx="1185">1.243787486602095</cx:pt>
          <cx:pt idx="1186">1.2233938340200508</cx:pt>
          <cx:pt idx="1187">1.1891543032715508</cx:pt>
          <cx:pt idx="1188">1.1677787940478952</cx:pt>
          <cx:pt idx="1189">1.1994685202967166</cx:pt>
          <cx:pt idx="1190">1.1997768609741697</cx:pt>
          <cx:pt idx="1191">1.2016306125562286</cx:pt>
          <cx:pt idx="1192">1.194318269571498</cx:pt>
          <cx:pt idx="1193">1.2306145855077923</cx:pt>
          <cx:pt idx="1194">1.2212907855198523</cx:pt>
          <cx:pt idx="1195">1.2158728003646866</cx:pt>
          <cx:pt idx="1196">1.2226497753315453</cx:pt>
          <cx:pt idx="1197">1.1869169423160948</cx:pt>
          <cx:pt idx="1198">1.1785711232136638</cx:pt>
          <cx:pt idx="1199">1.1758478066978428</cx:pt>
          <cx:pt idx="1200">1.1749091934712337</cx:pt>
          <cx:pt idx="1201">1.1745033267369351</cx:pt>
          <cx:pt idx="1202">1.1811882116740957</cx:pt>
          <cx:pt idx="1203">1.1676240004605987</cx:pt>
          <cx:pt idx="1204">1.1963722044635201</cx:pt>
          <cx:pt idx="1205">1.2463240573438268</cx:pt>
          <cx:pt idx="1206">1.2925437951441301</cx:pt>
          <cx:pt idx="1207">1.3005838225850312</cx:pt>
          <cx:pt idx="1208">1.3163775645585567</cx:pt>
          <cx:pt idx="1209">1.3360426237486278</cx:pt>
          <cx:pt idx="1210">1.3446324996592134</cx:pt>
          <cx:pt idx="1211">1.347347374004402</cx:pt>
          <cx:pt idx="1212">1.2843260229915658</cx:pt>
          <cx:pt idx="1213">1.2688831767065996</cx:pt>
          <cx:pt idx="1214">1.315645554777749</cx:pt>
          <cx:pt idx="1215">1.3054497021069718</cx:pt>
          <cx:pt idx="1216">1.2994917947917877</cx:pt>
          <cx:pt idx="1217">1.3226386952904292</cx:pt>
          <cx:pt idx="1218">1.3255611106488128</cx:pt>
          <cx:pt idx="1219">1.2792548234131482</cx:pt>
          <cx:pt idx="1220">1.224292817599534</cx:pt>
          <cx:pt idx="1221">1.2214621944510269</cx:pt>
          <cx:pt idx="1222">1.21143192620467</cx:pt>
          <cx:pt idx="1223">1.2289154235664752</cx:pt>
          <cx:pt idx="1224">1.1387088519293973</cx:pt>
          <cx:pt idx="1225">1.1233761518274386</cx:pt>
          <cx:pt idx="1226">1.1250205254997347</cx:pt>
          <cx:pt idx="1227">1.0790562383821327</cx:pt>
          <cx:pt idx="1228">1.0668941961630738</cx:pt>
          <cx:pt idx="1229">1.107470235528091</cx:pt>
          <cx:pt idx="1230">0.98776417454579124</cx:pt>
          <cx:pt idx="1231">0.9859820714198051</cx:pt>
          <cx:pt idx="1232">0.93420462403581161</cx:pt>
          <cx:pt idx="1233">0.93172484285635471</cx:pt>
          <cx:pt idx="1234">0.89370282039545756</cx:pt>
          <cx:pt idx="1235">0.90357961964193145</cx:pt>
          <cx:pt idx="1236">0.91990777938913237</cx:pt>
          <cx:pt idx="1237">0.93457218088830485</cx:pt>
          <cx:pt idx="1238">0.95793819810979919</cx:pt>
          <cx:pt idx="1239">0.93904801943015614</cx:pt>
          <cx:pt idx="1240">0.95584585071159878</cx:pt>
          <cx:pt idx="1241">0.96267671188873294</cx:pt>
          <cx:pt idx="1242">0.92413819196560731</cx:pt>
          <cx:pt idx="1243">0.88909595258511043</cx:pt>
          <cx:pt idx="1244">0.87063763557126206</cx:pt>
          <cx:pt idx="1245">0.86626165060669014</cx:pt>
          <cx:pt idx="1246">0.90983881356351537</cx:pt>
          <cx:pt idx="1247">1.0564839230058785</cx:pt>
          <cx:pt idx="1248">1.1113216001341506</cx:pt>
          <cx:pt idx="1249">1.1333657174373875</cx:pt>
          <cx:pt idx="1250">1.1457046477102835</cx:pt>
          <cx:pt idx="1251">1.1521594498373309</cx:pt>
          <cx:pt idx="1252">1.142854283790586</cx:pt>
          <cx:pt idx="1253">1.1426484986196974</cx:pt>
          <cx:pt idx="1254">1.1603632171432028</cx:pt>
          <cx:pt idx="1255">1.159614785871973</cx:pt>
          <cx:pt idx="1256">1.1861863531992467</cx:pt>
          <cx:pt idx="1257">1.2014252289032219</cx:pt>
          <cx:pt idx="1258">1.197085618698438</cx:pt>
          <cx:pt idx="1259">1.1955985588727067</cx:pt>
          <cx:pt idx="1260">1.1580775690401648</cx:pt>
          <cx:pt idx="1261">1.2121412671850185</cx:pt>
          <cx:pt idx="1262">1.213181900038343</cx:pt>
          <cx:pt idx="1263">1.1932586628887885</cx:pt>
          <cx:pt idx="1264">1.2092334726585467</cx:pt>
          <cx:pt idx="1265">1.1935204995288928</cx:pt>
          <cx:pt idx="1266">1.2123628400417006</cx:pt>
          <cx:pt idx="1267">1.260490602559093</cx:pt>
          <cx:pt idx="1268">1.1930742795648304</cx:pt>
          <cx:pt idx="1269">1.1317707127490793</cx:pt>
          <cx:pt idx="1270">1.1409830698092753</cx:pt>
          <cx:pt idx="1271">1.061373324204699</cx:pt>
          <cx:pt idx="1272">1.0832494922064773</cx:pt>
          <cx:pt idx="1273">1.0896071108036962</cx:pt>
          <cx:pt idx="1274">1.054589457908234</cx:pt>
          <cx:pt idx="1275">1.0234675404973099</cx:pt>
          <cx:pt idx="1276">0.99401337045593141</cx:pt>
          <cx:pt idx="1277">1.0016447763875751</cx:pt>
          <cx:pt idx="1278">0.99486628484997031</cx:pt>
          <cx:pt idx="1279">0.99334592616684037</cx:pt>
          <cx:pt idx="1280">1.0319946236419091</cx:pt>
          <cx:pt idx="1281">1.0681035349114441</cx:pt>
          <cx:pt idx="1282">1.1049186220216953</cx:pt>
          <cx:pt idx="1283">1.1123906252867315</cx:pt>
          <cx:pt idx="1284">1.0962383384208267</cx:pt>
          <cx:pt idx="1285">1.0968870909635959</cx:pt>
          <cx:pt idx="1286">1.1132590922384655</cx:pt>
          <cx:pt idx="1287">1.1467395575732202</cx:pt>
          <cx:pt idx="1288">1.1513704783841832</cx:pt>
          <cx:pt idx="1289">1.1414036821350269</cx:pt>
          <cx:pt idx="1290">1.1471349068979007</cx:pt>
          <cx:pt idx="1291">1.1808709197165697</cx:pt>
          <cx:pt idx="1292">1.1759490333480687</cx:pt>
          <cx:pt idx="1293">1.1820820887383954</cx:pt>
          <cx:pt idx="1294">1.1853148032466725</cx:pt>
          <cx:pt idx="1295">1.1819016934175297</cx:pt>
          <cx:pt idx="1296">1.2079513448864163</cx:pt>
          <cx:pt idx="1297">1.208796700179807</cx:pt>
          <cx:pt idx="1298">1.1938726179777255</cx:pt>
          <cx:pt idx="1299">1.205608488671587</cx:pt>
          <cx:pt idx="1300">1.2518998036103246</cx:pt>
          <cx:pt idx="1301">1.2316766263220051</cx:pt>
          <cx:pt idx="1302">1.2480218325909427</cx:pt>
          <cx:pt idx="1303">1.2436552957406064</cx:pt>
          <cx:pt idx="1304">1.2258396288662412</cx:pt>
          <cx:pt idx="1305">1.2260619711047425</cx:pt>
          <cx:pt idx="1306">1.2910548325478512</cx:pt>
          <cx:pt idx="1307">1.2159514173939538</cx:pt>
          <cx:pt idx="1308">1.2293997136464521</cx:pt>
          <cx:pt idx="1309">1.2605770994492613</cx:pt>
          <cx:pt idx="1310">1.306731126345102</cx:pt>
          <cx:pt idx="1311">1.283809016714655</cx:pt>
          <cx:pt idx="1312">1.2510436933139646</cx:pt>
          <cx:pt idx="1313">1.2662462516795354</cx:pt>
          <cx:pt idx="1314">1.2410875390438392</cx:pt>
          <cx:pt idx="1315">1.2516189086431695</cx:pt>
          <cx:pt idx="1316">1.2882572206926175</cx:pt>
          <cx:pt idx="1317">1.2748096210385587</cx:pt>
          <cx:pt idx="1318">1.2960939664594049</cx:pt>
          <cx:pt idx="1319">1.2939278369800333</cx:pt>
          <cx:pt idx="1320">1.3293273422282783</cx:pt>
          <cx:pt idx="1321">1.2998894080337291</cx:pt>
          <cx:pt idx="1322">1.2643287989395624</cx:pt>
          <cx:pt idx="1323">1.2712673381949564</cx:pt>
          <cx:pt idx="1324">1.2532250010376453</cx:pt>
          <cx:pt idx="1325">1.2487589538142188</cx:pt>
          <cx:pt idx="1326">1.2448438171241634</cx:pt>
          <cx:pt idx="1327">1.2101148972375013</cx:pt>
          <cx:pt idx="1328">1.2370271335068834</cx:pt>
          <cx:pt idx="1329">1.1796762814570179</cx:pt>
          <cx:pt idx="1330">1.1847038557405185</cx:pt>
          <cx:pt idx="1331">1.1999276859931614</cx:pt>
          <cx:pt idx="1332">1.2027592828463716</cx:pt>
          <cx:pt idx="1333">1.2604280720180674</cx:pt>
          <cx:pt idx="1334">1.2449577442412396</cx:pt>
          <cx:pt idx="1335">1.2775419105975869</cx:pt>
          <cx:pt idx="1336">1.2748324789800285</cx:pt>
          <cx:pt idx="1337">1.2748324789800285</cx:pt>
          <cx:pt idx="1338">1.2745048374349783</cx:pt>
          <cx:pt idx="1339">1.2686736787786705</cx:pt>
          <cx:pt idx="1340">1.2559473141473643</cx:pt>
          <cx:pt idx="1341">1.2513724078889565</cx:pt>
          <cx:pt idx="1342">1.2287974714355698</cx:pt>
          <cx:pt idx="1343">1.2402573440902864</cx:pt>
          <cx:pt idx="1344">1.2360711257678452</cx:pt>
          <cx:pt idx="1345">1.2485739822883186</cx:pt>
          <cx:pt idx="1346">1.2187145528343875</cx:pt>
          <cx:pt idx="1347">1.248870715693233</cx:pt>
          <cx:pt idx="1348">1.2471509898155273</cx:pt>
          <cx:pt idx="1349">1.258959119477725</cx:pt>
          <cx:pt idx="1350">1.2969625391494499</cx:pt>
          <cx:pt idx="1351">1.3025908013259284</cx:pt>
          <cx:pt idx="1352">1.3297314790782429</cx:pt>
          <cx:pt idx="1353">1.3117454513099167</cx:pt>
          <cx:pt idx="1354">1.3157397853662776</cx:pt>
          <cx:pt idx="1355">1.2913672008037942</cx:pt>
          <cx:pt idx="1356">1.2857344664741508</cx:pt>
          <cx:pt idx="1357">1.2732674080777839</cx:pt>
          <cx:pt idx="1358">1.2710113659889581</cx:pt>
          <cx:pt idx="1359">1.2363908627903224</cx:pt>
          <cx:pt idx="1360">1.2374799227218938</cx:pt>
          <cx:pt idx="1361">1.2253971925746734</cx:pt>
          <cx:pt idx="1362">1.252388942987013</cx:pt>
          <cx:pt idx="1363">1.2509402055451975</cx:pt>
          <cx:pt idx="1364">1.2226925162310067</cx:pt>
          <cx:pt idx="1365">1.1917767525660954</cx:pt>
          <cx:pt idx="1366">1.1934107621903809</cx:pt>
          <cx:pt idx="1367">1.1903979636356725</cx:pt>
          <cx:pt idx="1368">1.1495298711782924</cx:pt>
          <cx:pt idx="1369">1.161891209535427</cx:pt>
          <cx:pt idx="1370">1.2040901620225823</cx:pt>
          <cx:pt idx="1371">1.190732854666736</cx:pt>
          <cx:pt idx="1372">1.1788086750924078</cx:pt>
          <cx:pt idx="1373">1.1806642016209548</cx:pt>
          <cx:pt idx="1374">1.1530869274974851</cx:pt>
          <cx:pt idx="1375">1.1933551688997637</cx:pt>
          <cx:pt idx="1376">1.1610534704699527</cx:pt>
          <cx:pt idx="1377">1.1853786655095326</cx:pt>
          <cx:pt idx="1378">1.1703184016712382</cx:pt>
          <cx:pt idx="1379">1.2042103556460391</cx:pt>
          <cx:pt idx="1380">1.1600862036935009</cx:pt>
          <cx:pt idx="1381">1.1132645977107725</cx:pt>
          <cx:pt idx="1382">1.0493600712528486</cx:pt>
          <cx:pt idx="1383">1.0541712333616919</cx:pt>
          <cx:pt idx="1384">1.0545453079178779</cx:pt>
          <cx:pt idx="1385">1.0524748100579178</cx:pt>
          <cx:pt idx="1386">1.065375899132138</cx:pt>
          <cx:pt idx="1387">1.0637518305456612</cx:pt>
          <cx:pt idx="1388">1.0563407115721375</cx:pt>
          <cx:pt idx="1389">1.0528430531772788</cx:pt>
          <cx:pt idx="1390">1.0977730145152267</cx:pt>
          <cx:pt idx="1391">1.0935705551722688</cx:pt>
          <cx:pt idx="1392">1.0932678645491749</cx:pt>
          <cx:pt idx="1393">1.0512183407836826</cx:pt>
          <cx:pt idx="1394">1.1232952675341044</cx:pt>
          <cx:pt idx="1395">1.1260951658632785</cx:pt>
          <cx:pt idx="1396">1.121173060797513</cx:pt>
          <cx:pt idx="1397">1.0592530336266739</cx:pt>
          <cx:pt idx="1398">1.0695332114163547</cx:pt>
          <cx:pt idx="1399">1.0664168726330989</cx:pt>
          <cx:pt idx="1400">1.0762662459903054</cx:pt>
          <cx:pt idx="1401">1.0530585254697462</cx:pt>
          <cx:pt idx="1402">1.0531551162695512</cx:pt>
          <cx:pt idx="1403">1.0141325017880036</cx:pt>
          <cx:pt idx="1404">1.0146422644120352</cx:pt>
          <cx:pt idx="1405">1.0292026353037231</cx:pt>
          <cx:pt idx="1406">0.99815345642874231</cx:pt>
          <cx:pt idx="1407">1.0415587987160375</cx:pt>
          <cx:pt idx="1408">1.0232487793865814</cx:pt>
          <cx:pt idx="1409">0.98644708396465197</cx:pt>
          <cx:pt idx="1410">1.0260242718628114</cx:pt>
          <cx:pt idx="1411">1.0283019723002376</cx:pt>
          <cx:pt idx="1412">1.0229853003495124</cx:pt>
          <cx:pt idx="1413">1.0211826371881887</cx:pt>
          <cx:pt idx="1414">1.0460170232377795</cx:pt>
          <cx:pt idx="1415">1.0424133495873167</cx:pt>
          <cx:pt idx="1416">1.0201776147276502</cx:pt>
          <cx:pt idx="1417">1.0432605010821985</cx:pt>
          <cx:pt idx="1418">1.0382354758077796</cx:pt>
          <cx:pt idx="1419">1.0375827988725186</cx:pt>
          <cx:pt idx="1420">1.0385113415132323</cx:pt>
          <cx:pt idx="1421">1.0416147513944782</cx:pt>
          <cx:pt idx="1422">1.041998699770101</cx:pt>
          <cx:pt idx="1423">1.0374275463754059</cx:pt>
          <cx:pt idx="1424">1.0556039905884389</cx:pt>
          <cx:pt idx="1425">1.0003472515361422</cx:pt>
          <cx:pt idx="1426">0.96545671403054956</cx:pt>
          <cx:pt idx="1427">0.99673359001408479</cx:pt>
          <cx:pt idx="1428">1.0125050378209992</cx:pt>
          <cx:pt idx="1429">1.053310194383116</cx:pt>
          <cx:pt idx="1430">1.0319623232265502</cx:pt>
          <cx:pt idx="1431">1.024255092554416</cx:pt>
          <cx:pt idx="1432">1.0250195906861108</cx:pt>
          <cx:pt idx="1433">1.0499459279471983</cx:pt>
          <cx:pt idx="1434">1.0547915250372095</cx:pt>
          <cx:pt idx="1435">1.0505534639632392</cx:pt>
          <cx:pt idx="1436">1.0474373232974652</cx:pt>
          <cx:pt idx="1437">1.0434383814648465</cx:pt>
          <cx:pt idx="1438">1.030786003468342</cx:pt>
          <cx:pt idx="1439">1.0277511727642443</cx:pt>
          <cx:pt idx="1440">1.0254888160423576</cx:pt>
          <cx:pt idx="1441">1.0053554445530561</cx:pt>
          <cx:pt idx="1442">1.0249054506615225</cx:pt>
          <cx:pt idx="1443">1.068497186032392</cx:pt>
          <cx:pt idx="1444">1.0623569859474724</cx:pt>
          <cx:pt idx="1445">1.0514984699266399</cx:pt>
          <cx:pt idx="1446">1.0552842964038454</cx:pt>
          <cx:pt idx="1447">1.0340421779629938</cx:pt>
          <cx:pt idx="1448">0.97411134026137192</cx:pt>
          <cx:pt idx="1449">0.97588096400840729</cx:pt>
          <cx:pt idx="1450">0.96829125628048873</cx:pt>
          <cx:pt idx="1451">1.0493278954921879</cx:pt>
          <cx:pt idx="1452">1.0491220087517521</cx:pt>
          <cx:pt idx="1453">1.0852789146485085</cx:pt>
          <cx:pt idx="1454">1.10372244056486</cx:pt>
          <cx:pt idx="1455">1.1521623429517771</cx:pt>
          <cx:pt idx="1456">1.1670496759935107</cx:pt>
          <cx:pt idx="1457">1.1682821687445424</cx:pt>
          <cx:pt idx="1458">1.1815891431567089</cx:pt>
          <cx:pt idx="1459">1.1769527813223286</cx:pt>
          <cx:pt idx="1460">1.1446247448188478</cx:pt>
          <cx:pt idx="1461">1.1606632327186663</cx:pt>
          <cx:pt idx="1462">1.1238705202275563</cx:pt>
          <cx:pt idx="1463">1.122646738259516</cx:pt>
          <cx:pt idx="1464">1.1322501148512392</cx:pt>
          <cx:pt idx="1465">1.1396427472668127</cx:pt>
          <cx:pt idx="1466">1.1538554353086856</cx:pt>
          <cx:pt idx="1467">1.13709978189185</cx:pt>
          <cx:pt idx="1468">1.1473497277855</cx:pt>
          <cx:pt idx="1469">1.1784587163904205</cx:pt>
          <cx:pt idx="1470">1.1874064083095652</cx:pt>
          <cx:pt idx="1471">1.2344821734472877</cx:pt>
          <cx:pt idx="1472">1.2520323263544588</cx:pt>
          <cx:pt idx="1473">1.2568051319854425</cx:pt>
          <cx:pt idx="1474">1.203922710340293</cx:pt>
          <cx:pt idx="1475">1.2087146821296155</cx:pt>
          <cx:pt idx="1476">1.2198414316129653</cx:pt>
          <cx:pt idx="1477">1.2294239406349832</cx:pt>
          <cx:pt idx="1478">1.2302024485897141</cx:pt>
          <cx:pt idx="1479">1.2656538961920971</cx:pt>
          <cx:pt idx="1480">1.2491508513635834</cx:pt>
          <cx:pt idx="1481">1.2685028852519307</cx:pt>
          <cx:pt idx="1482">1.2198107556378948</cx:pt>
          <cx:pt idx="1483">1.2267000930462055</cx:pt>
          <cx:pt idx="1484">1.2049096695719381</cx:pt>
          <cx:pt idx="1485">1.2066869243235103</cx:pt>
          <cx:pt idx="1486">1.2007873760914733</cx:pt>
          <cx:pt idx="1487">1.1922854172256878</cx:pt>
          <cx:pt idx="1488">1.2427892666459279</cx:pt>
          <cx:pt idx="1489">1.249132344030538</cx:pt>
          <cx:pt idx="1490">1.2303126624203413</cx:pt>
          <cx:pt idx="1491">1.2497709037371443</cx:pt>
          <cx:pt idx="1492">1.2340495450223603</cx:pt>
          <cx:pt idx="1493">1.234519975493501</cx:pt>
          <cx:pt idx="1494">1.2516740618025322</cx:pt>
          <cx:pt idx="1495">1.2525637364934754</cx:pt>
          <cx:pt idx="1496">1.2603536796667292</cx:pt>
          <cx:pt idx="1497">1.2670713841268455</cx:pt>
          <cx:pt idx="1498">1.2746083522450748</cx:pt>
          <cx:pt idx="1499">1.2724935304142959</cx:pt>
          <cx:pt idx="1500">1.249547100748607</cx:pt>
          <cx:pt idx="1501">1.252412811121943</cx:pt>
          <cx:pt idx="1502">1.2240423950771633</cx:pt>
          <cx:pt idx="1503">1.2057842671575763</cx:pt>
          <cx:pt idx="1504">1.2210253051017927</cx:pt>
          <cx:pt idx="1505">1.2394534001658946</cx:pt>
          <cx:pt idx="1506">1.2317449812866026</cx:pt>
          <cx:pt idx="1507">1.22529504895321</cx:pt>
          <cx:pt idx="1508">1.2306450795529795</cx:pt>
          <cx:pt idx="1509">1.2430110856866028</cx:pt>
          <cx:pt idx="1510">1.2127365305263629</cx:pt>
          <cx:pt idx="1511">1.1994706717853172</cx:pt>
          <cx:pt idx="1512">1.1859144649929738</cx:pt>
          <cx:pt idx="1513">1.1889266868342505</cx:pt>
          <cx:pt idx="1514">1.1450377276969805</cx:pt>
          <cx:pt idx="1515">1.1377594469569507</cx:pt>
          <cx:pt idx="1516">1.1352280809154283</cx:pt>
          <cx:pt idx="1517">1.1044269666805424</cx:pt>
          <cx:pt idx="1518">1.1400382940182132</cx:pt>
          <cx:pt idx="1519">1.1027684614504956</cx:pt>
          <cx:pt idx="1520">1.1017711059437316</cx:pt>
          <cx:pt idx="1521">1.1569986199004791</cx:pt>
          <cx:pt idx="1522">1.1714223502138952</cx:pt>
          <cx:pt idx="1523">1.1726817900202773</cx:pt>
          <cx:pt idx="1524">1.1878571109897993</cx:pt>
          <cx:pt idx="1525">1.1688366608662422</cx:pt>
          <cx:pt idx="1526">1.1494182726890148</cx:pt>
          <cx:pt idx="1527">1.1363837190796284</cx:pt>
          <cx:pt idx="1528">1.1576135072890541</cx:pt>
          <cx:pt idx="1529">1.1409101252852896</cx:pt>
          <cx:pt idx="1530">1.1300464354337656</cx:pt>
          <cx:pt idx="1531">1.1203543986143956</cx:pt>
          <cx:pt idx="1532">1.106160656437148</cx:pt>
          <cx:pt idx="1533">1.087673357830067</cx:pt>
          <cx:pt idx="1534">1.0817130977326896</cx:pt>
          <cx:pt idx="1535">1.0605719698473115</cx:pt>
          <cx:pt idx="1536">1.0362735139425907</cx:pt>
          <cx:pt idx="1537">1.0639802528687381</cx:pt>
          <cx:pt idx="1538">1.0648094382493736</cx:pt>
          <cx:pt idx="1539">1.0377936687630791</cx:pt>
          <cx:pt idx="1540">1.0203586761315793</cx:pt>
          <cx:pt idx="1541">1.0157811761641689</cx:pt>
          <cx:pt idx="1542">1.0135111968974784</cx:pt>
          <cx:pt idx="1543">0.99874835647919469</cx:pt>
          <cx:pt idx="1544">1.0461882681779215</cx:pt>
          <cx:pt idx="1545">1.0825863098522768</cx:pt>
          <cx:pt idx="1546">1.0944750791702529</cx:pt>
          <cx:pt idx="1547">1.0597668641977882</cx:pt>
          <cx:pt idx="1548">1.066931284381238</cx:pt>
          <cx:pt idx="1549">1.0229582864975377</cx:pt>
          <cx:pt idx="1550">1.0178627196872043</cx:pt>
          <cx:pt idx="1551">1.0268476659331012</cx:pt>
          <cx:pt idx="1552">0.94579374413854778</cx:pt>
          <cx:pt idx="1553">0.92765967526797199</cx:pt>
          <cx:pt idx="1554">0.96143978054421197</cx:pt>
          <cx:pt idx="1555">0.96059938725552929</cx:pt>
          <cx:pt idx="1556">1.0061104708578932</cx:pt>
          <cx:pt idx="1557">1.0535458816450196</cx:pt>
          <cx:pt idx="1558">1.0505548968987048</cx:pt>
          <cx:pt idx="1559">1.0045653850811429</cx:pt>
          <cx:pt idx="1560">1.0407093321280896</cx:pt>
          <cx:pt idx="1561">1.092151373966042</cx:pt>
          <cx:pt idx="1562">1.1190415445793882</cx:pt>
          <cx:pt idx="1563">1.1243973774273892</cx:pt>
          <cx:pt idx="1564">1.1642850960766595</cx:pt>
          <cx:pt idx="1565">1.1593801643944914</cx:pt>
          <cx:pt idx="1566">1.1763523903306181</cx:pt>
          <cx:pt idx="1567">1.1937627328600904</cx:pt>
          <cx:pt idx="1568">1.1697768374619004</cx:pt>
          <cx:pt idx="1569">1.1510846684664404</cx:pt>
          <cx:pt idx="1570">1.1870234754135218</cx:pt>
          <cx:pt idx="1571">1.2017590154364544</cx:pt>
          <cx:pt idx="1572">1.215371530433903</cx:pt>
          <cx:pt idx="1573">1.2283965420482628</cx:pt>
          <cx:pt idx="1574">1.2269005445579355</cx:pt>
          <cx:pt idx="1575">1.1855678735507715</cx:pt>
          <cx:pt idx="1576">1.1458304027332999</cx:pt>
          <cx:pt idx="1577">1.1362363830997357</cx:pt>
          <cx:pt idx="1578">1.1437187036672432</cx:pt>
          <cx:pt idx="1579">1.1487553807191428</cx:pt>
          <cx:pt idx="1580">1.1668038321824703</cx:pt>
          <cx:pt idx="1581">1.1702776988702801</cx:pt>
          <cx:pt idx="1582">1.1358115851624544</cx:pt>
          <cx:pt idx="1583">1.139414110904825</cx:pt>
          <cx:pt idx="1584">1.1681576340821973</cx:pt>
          <cx:pt idx="1585">1.1248116688239775</cx:pt>
          <cx:pt idx="1586">1.0815403193434778</cx:pt>
          <cx:pt idx="1587">1.0686682497187752</cx:pt>
          <cx:pt idx="1588">1.0618673954837297</cx:pt>
          <cx:pt idx="1589">1.0561810898816817</cx:pt>
          <cx:pt idx="1590">1.0610791828407842</cx:pt>
          <cx:pt idx="1591">1.0707487080071243</cx:pt>
          <cx:pt idx="1592">1.0415164708922209</cx:pt>
          <cx:pt idx="1593">1.0514172718620773</cx:pt>
          <cx:pt idx="1594">1.0514432477436941</cx:pt>
          <cx:pt idx="1595">1.0889649816145586</cx:pt>
          <cx:pt idx="1596">1.1121895483225195</cx:pt>
          <cx:pt idx="1597">1.0699309594850108</cx:pt>
          <cx:pt idx="1598">1.1046410403189757</cx:pt>
          <cx:pt idx="1599">1.126763373084487</cx:pt>
          <cx:pt idx="1600">1.1240013010362497</cx:pt>
          <cx:pt idx="1601">1.0980032708492713</cx:pt>
          <cx:pt idx="1602">1.1329865377062762</cx:pt>
          <cx:pt idx="1603">1.1284087187535992</cx:pt>
          <cx:pt idx="1604">1.1229606605581914</cx:pt>
          <cx:pt idx="1605">1.1817623981119885</cx:pt>
          <cx:pt idx="1606">1.1823471280393063</cx:pt>
          <cx:pt idx="1607">1.1927503231327723</cx:pt>
          <cx:pt idx="1608">1.1610055893468487</cx:pt>
          <cx:pt idx="1609">1.2224583903466943</cx:pt>
          <cx:pt idx="1610">1.2262189458762272</cx:pt>
          <cx:pt idx="1611">1.22428693312624</cx:pt>
          <cx:pt idx="1612">1.2043952660938375</cx:pt>
          <cx:pt idx="1613">1.1873745321379821</cx:pt>
          <cx:pt idx="1614">1.1815878691291297</cx:pt>
          <cx:pt idx="1615">1.149284115654011</cx:pt>
          <cx:pt idx="1616">1.1256171544955338</cx:pt>
          <cx:pt idx="1617">1.1262459289485209</cx:pt>
          <cx:pt idx="1618">1.1779879875978063</cx:pt>
          <cx:pt idx="1619">1.1824527997581604</cx:pt>
          <cx:pt idx="1620">1.2048342588911749</cx:pt>
          <cx:pt idx="1621">1.230432129703402</cx:pt>
          <cx:pt idx="1622">1.221687885804954</cx:pt>
          <cx:pt idx="1623">1.2609360748849383</cx:pt>
          <cx:pt idx="1624">1.2441780980972719</cx:pt>
          <cx:pt idx="1625">1.2474613360526392</cx:pt>
          <cx:pt idx="1626">1.2185625234906552</cx:pt>
          <cx:pt idx="1627">1.2010533011727933</cx:pt>
          <cx:pt idx="1628">1.2052794259521962</cx:pt>
          <cx:pt idx="1629">1.1881410437254265</cx:pt>
          <cx:pt idx="1630">1.1784882789641624</cx:pt>
          <cx:pt idx="1631">1.1733468352106826</cx:pt>
          <cx:pt idx="1632">1.1648387215884559</cx:pt>
          <cx:pt idx="1633">1.147736154161701</cx:pt>
          <cx:pt idx="1634">1.1622431962854536</cx:pt>
          <cx:pt idx="1635">1.1971796606127862</cx:pt>
          <cx:pt idx="1636">1.1953118097720967</cx:pt>
          <cx:pt idx="1637">1.1955455856268415</cx:pt>
          <cx:pt idx="1638">1.2186217316013952</cx:pt>
          <cx:pt idx="1639">1.1841395406002213</cx:pt>
          <cx:pt idx="1640">1.1515524817738749</cx:pt>
          <cx:pt idx="1641">1.1710279465550357</cx:pt>
          <cx:pt idx="1642">1.1285783234929088</cx:pt>
          <cx:pt idx="1643">1.1102263645965005</cx:pt>
          <cx:pt idx="1644">1.1451341659668166</cx:pt>
          <cx:pt idx="1645">1.1322358696473671</cx:pt>
          <cx:pt idx="1646">1.1478920371847949</cx:pt>
          <cx:pt idx="1647">1.2088278335572835</cx:pt>
          <cx:pt idx="1648">1.2059930098408311</cx:pt>
          <cx:pt idx="1649">1.1925392624451066</cx:pt>
          <cx:pt idx="1650">1.2053248346355632</cx:pt>
          <cx:pt idx="1651">1.1986455617886798</cx:pt>
          <cx:pt idx="1652">1.186066327543841</cx:pt>
          <cx:pt idx="1653">1.221502952254145</cx:pt>
          <cx:pt idx="1654">1.1992243909231277</cx:pt>
          <cx:pt idx="1655">1.2039002030586803</cx:pt>
          <cx:pt idx="1656">1.1717751444911741</cx:pt>
          <cx:pt idx="1657">1.1740180064930403</cx:pt>
          <cx:pt idx="1658">1.1904275910202877</cx:pt>
          <cx:pt idx="1659">1.2028923029403416</cx:pt>
          <cx:pt idx="1660">1.2076162425403658</cx:pt>
          <cx:pt idx="1661">1.2178477401874053</cx:pt>
          <cx:pt idx="1662">1.2218106605864023</cx:pt>
          <cx:pt idx="1663">1.1675227887992556</cx:pt>
          <cx:pt idx="1664">1.1896097670452535</cx:pt>
          <cx:pt idx="1665">1.1810852490787431</cx:pt>
          <cx:pt idx="1666">1.1854778991876502</cx:pt>
          <cx:pt idx="1667">1.1563977252332911</cx:pt>
          <cx:pt idx="1668">1.1497680925589584</cx:pt>
          <cx:pt idx="1669">1.1033091963704906</cx:pt>
          <cx:pt idx="1670">1.2015405881393419</cx:pt>
          <cx:pt idx="1671">1.2007519149642534</cx:pt>
          <cx:pt idx="1672">1.1406368717160948</cx:pt>
          <cx:pt idx="1673">1.2018897306871301</cx:pt>
          <cx:pt idx="1674">1.2105358273290845</cx:pt>
          <cx:pt idx="1675">1.2301752650722979</cx:pt>
          <cx:pt idx="1676">1.2444665480627879</cx:pt>
          <cx:pt idx="1677">1.2448950381112369</cx:pt>
          <cx:pt idx="1678">1.2908468504814381</cx:pt>
          <cx:pt idx="1679">1.3249960843926722</cx:pt>
          <cx:pt idx="1680">1.3907919922085388</cx:pt>
          <cx:pt idx="1681">1.3423734397003324</cx:pt>
          <cx:pt idx="1682">1.3886117458257221</cx:pt>
          <cx:pt idx="1683">1.4071749323813938</cx:pt>
          <cx:pt idx="1684">1.4292571948506179</cx:pt>
          <cx:pt idx="1685">1.3909270521907782</cx:pt>
          <cx:pt idx="1686">1.3401236502089879</cx:pt>
          <cx:pt idx="1687">1.3391589400316402</cx:pt>
          <cx:pt idx="1688">1.3566302338507161</cx:pt>
          <cx:pt idx="1689">1.2671561589570541</cx:pt>
          <cx:pt idx="1690">1.2674638973883221</cx:pt>
          <cx:pt idx="1691">1.1538804097479076</cx:pt>
          <cx:pt idx="1692">1.0757754892289588</cx:pt>
          <cx:pt idx="1693">1.0357733591924938</cx:pt>
          <cx:pt idx="1694">1.0122149671808582</cx:pt>
          <cx:pt idx="1695">1.0264500888724379</cx:pt>
          <cx:pt idx="1696">0.93828280579786483</cx:pt>
          <cx:pt idx="1697">0.95823246781018201</cx:pt>
          <cx:pt idx="1698">0.95457449846425257</cx:pt>
          <cx:pt idx="1699">0.93212994617657219</cx:pt>
          <cx:pt idx="1700">0.91910346686088562</cx:pt>
          <cx:pt idx="1701">0.91067657703324589</cx:pt>
          <cx:pt idx="1702">0.89725087895468025</cx:pt>
          <cx:pt idx="1703">0.87134662806288443</cx:pt>
          <cx:pt idx="1704">0.92154486935610391</cx:pt>
          <cx:pt idx="1705">0.91846154677440117</cx:pt>
          <cx:pt idx="1706">0.92392814969912651</cx:pt>
          <cx:pt idx="1707">0.92688645185030905</cx:pt>
          <cx:pt idx="1708">0.88520029930658783</cx:pt>
          <cx:pt idx="1709">0.88390713763210971</cx:pt>
          <cx:pt idx="1710">0.90731969683131208</cx:pt>
          <cx:pt idx="1711">0.89830724920736016</cx:pt>
          <cx:pt idx="1712">0.87829257623093071</cx:pt>
          <cx:pt idx="1713">0.88917879233098118</cx:pt>
          <cx:pt idx="1714">0.97910064064738922</cx:pt>
          <cx:pt idx="1715">1.0412855991152141</cx:pt>
          <cx:pt idx="1716">1.037180213703927</cx:pt>
          <cx:pt idx="1717">1.1911938531149848</cx:pt>
          <cx:pt idx="1718">1.182556370703939</cx:pt>
          <cx:pt idx="1719">1.1700471454521157</cx:pt>
          <cx:pt idx="1720">1.1694638970278701</cx:pt>
          <cx:pt idx="1721">1.1754754700312384</cx:pt>
          <cx:pt idx="1722">1.1644515068597563</cx:pt>
          <cx:pt idx="1723">1.1682460891144395</cx:pt>
          <cx:pt idx="1724">1.1337159379478567</cx:pt>
          <cx:pt idx="1725">1.1338529801721036</cx:pt>
          <cx:pt idx="1726">1.109524067298217</cx:pt>
          <cx:pt idx="1727">1.1124090877436337</cx:pt>
          <cx:pt idx="1728">1.1320360380296417</cx:pt>
          <cx:pt idx="1729">1.1308932619361001</cx:pt>
          <cx:pt idx="1730">1.0946963049174869</cx:pt>
          <cx:pt idx="1731">1.1086713931839838</cx:pt>
          <cx:pt idx="1732">1.163152002381959</cx:pt>
          <cx:pt idx="1733">1.1708549399146677</cx:pt>
          <cx:pt idx="1734">1.1886119129345338</cx:pt>
          <cx:pt idx="1735">1.1968117143351715</cx:pt>
          <cx:pt idx="1736">1.1735498028566769</cx:pt>
          <cx:pt idx="1737">1.1845866753420149</cx:pt>
          <cx:pt idx="1738">1.1781990995920719</cx:pt>
          <cx:pt idx="1739">1.1698015639093371</cx:pt>
          <cx:pt idx="1740">1.1748952824533692</cx:pt>
          <cx:pt idx="1741">1.175836650201459</cx:pt>
          <cx:pt idx="1742">1.2201822532649766</cx:pt>
          <cx:pt idx="1743">1.1775808079022791</cx:pt>
          <cx:pt idx="1744">1.2178668995199091</cx:pt>
          <cx:pt idx="1745">1.2162876711225559</cx:pt>
          <cx:pt idx="1746">1.2372411209614109</cx:pt>
          <cx:pt idx="1747">1.2268207009412844</cx:pt>
          <cx:pt idx="1748">1.1730625298443094</cx:pt>
          <cx:pt idx="1749">1.1613633071450105</cx:pt>
          <cx:pt idx="1750">1.2048223890878322</cx:pt>
          <cx:pt idx="1751">1.2165746908819959</cx:pt>
          <cx:pt idx="1752">1.1655280772785921</cx:pt>
          <cx:pt idx="1753">1.1677326619960895</cx:pt>
          <cx:pt idx="1754">1.1407511202184155</cx:pt>
          <cx:pt idx="1755">1.1367141856178915</cx:pt>
          <cx:pt idx="1756">1.093415876768713</cx:pt>
          <cx:pt idx="1757">1.1514437874681183</cx:pt>
          <cx:pt idx="1758">1.1510104023146619</cx:pt>
          <cx:pt idx="1759">1.1619092556131783</cx:pt>
          <cx:pt idx="1760">1.1644085673971818</cx:pt>
          <cx:pt idx="1761">1.1659899112420655</cx:pt>
          <cx:pt idx="1762">1.1066345376862228</cx:pt>
          <cx:pt idx="1763">1.1004358862673214</cx:pt>
          <cx:pt idx="1764">1.0988341818217087</cx:pt>
          <cx:pt idx="1765">1.1128065845526147</cx:pt>
          <cx:pt idx="1766">1.0536879422152901</cx:pt>
          <cx:pt idx="1767">1.0827753070657817</cx:pt>
          <cx:pt idx="1768">1.1013521503768835</cx:pt>
          <cx:pt idx="1769">1.1162779936645641</cx:pt>
          <cx:pt idx="1770">1.1197138651391909</cx:pt>
          <cx:pt idx="1771">1.1301215083591294</cx:pt>
          <cx:pt idx="1772">1.1557720503014703</cx:pt>
          <cx:pt idx="1773">1.1434732978061617</cx:pt>
          <cx:pt idx="1774">1.1510522535152699</cx:pt>
          <cx:pt idx="1775">1.1658587678902907</cx:pt>
          <cx:pt idx="1776">1.1648653990266264</cx:pt>
          <cx:pt idx="1777">1.0871525399691111</cx:pt>
          <cx:pt idx="1778">1.0762953186292437</cx:pt>
          <cx:pt idx="1779">1.1044356316762551</cx:pt>
          <cx:pt idx="1780">1.1002664388952068</cx:pt>
          <cx:pt idx="1781">1.0900359074681401</cx:pt>
          <cx:pt idx="1782">1.0717601842171214</cx:pt>
          <cx:pt idx="1783">1.0669033675544024</cx:pt>
          <cx:pt idx="1784">1.0696821957946199</cx:pt>
          <cx:pt idx="1785">1.0402980342190404</cx:pt>
          <cx:pt idx="1786">1.0137280286788128</cx:pt>
          <cx:pt idx="1787">0.99834669781206653</cx:pt>
          <cx:pt idx="1788">0.88481539293227296</cx:pt>
          <cx:pt idx="1789">0.89675867937380915</cx:pt>
          <cx:pt idx="1790">0.95900116048232797</cx:pt>
          <cx:pt idx="1791">1.0211057679042419</cx:pt>
          <cx:pt idx="1792">1.0215698440324865</cx:pt>
          <cx:pt idx="1793">1.0020571314169944</cx:pt>
          <cx:pt idx="1794">1.0136359550954999</cx:pt>
          <cx:pt idx="1795">1.0584570836124925</cx:pt>
          <cx:pt idx="1796">1.0387932411454468</cx:pt>
          <cx:pt idx="1797">1.0070994227541925</cx:pt>
          <cx:pt idx="1798">0.97607299656514201</cx:pt>
          <cx:pt idx="1799">0.99099081514357346</cx:pt>
          <cx:pt idx="1800">0.98186787101372863</cx:pt>
          <cx:pt idx="1801">1.0365783249016514</cx:pt>
          <cx:pt idx="1802">1.0433725300961012</cx:pt>
          <cx:pt idx="1803">1.0250064778185024</cx:pt>
          <cx:pt idx="1804">1.0318743776171571</cx:pt>
          <cx:pt idx="1805">1.0259656872419511</cx:pt>
          <cx:pt idx="1806">0.98124728614103163</cx:pt>
          <cx:pt idx="1807">0.98526771647013756</cx:pt>
          <cx:pt idx="1808">0.98551127498282809</cx:pt>
          <cx:pt idx="1809">1.0282695558898414</cx:pt>
          <cx:pt idx="1810">1.0301450988725724</cx:pt>
          <cx:pt idx="1811">1.0229610194488481</cx:pt>
          <cx:pt idx="1812">1.0023496052689378</cx:pt>
          <cx:pt idx="1813">0.99082413834054262</cx:pt>
          <cx:pt idx="1814">0.98404268200114131</cx:pt>
          <cx:pt idx="1815">0.99067794751822547</cx:pt>
          <cx:pt idx="1816">1.0152137335217555</cx:pt>
          <cx:pt idx="1817">1.0180618313605112</cx:pt>
          <cx:pt idx="1818">1.0306031223021421</cx:pt>
          <cx:pt idx="1819">1.0318906335314282</cx:pt>
          <cx:pt idx="1820">1.0625797376784158</cx:pt>
          <cx:pt idx="1821">1.0290591798817619</cx:pt>
          <cx:pt idx="1822">1.0122265461077187</cx:pt>
          <cx:pt idx="1823">1.0179828251292182</cx:pt>
          <cx:pt idx="1824">1.018384974844605</cx:pt>
          <cx:pt idx="1825">0.99126583568145177</cx:pt>
          <cx:pt idx="1826">1.0055225999074964</cx:pt>
          <cx:pt idx="1827">1.0311957773297924</cx:pt>
          <cx:pt idx="1828">1.0703640220901234</cx:pt>
          <cx:pt idx="1829">1.079019267967519</cx:pt>
          <cx:pt idx="1830">1.103370106264371</cx:pt>
          <cx:pt idx="1831">1.1210612291796966</cx:pt>
          <cx:pt idx="1832">1.1058599534114342</cx:pt>
          <cx:pt idx="1833">1.124383415261951</cx:pt>
          <cx:pt idx="1834">1.1291701206152787</cx:pt>
          <cx:pt idx="1835">1.1260467531690594</cx:pt>
          <cx:pt idx="1836">1.1265466310046632</cx:pt>
          <cx:pt idx="1837">1.1500309486251659</cx:pt>
          <cx:pt idx="1838">1.1376788291427284</cx:pt>
          <cx:pt idx="1839">1.1769548826097476</cx:pt>
          <cx:pt idx="1840">1.1373334215734443</cx:pt>
          <cx:pt idx="1841">1.1903776395460324</cx:pt>
          <cx:pt idx="1842">1.2102153900535975</cx:pt>
          <cx:pt idx="1843">1.1943350154091015</cx:pt>
          <cx:pt idx="1844">1.2005635773359975</cx:pt>
          <cx:pt idx="1845">1.2394635502801683</cx:pt>
          <cx:pt idx="1846">1.236917344097427</cx:pt>
          <cx:pt idx="1847">1.2182867399118986</cx:pt>
          <cx:pt idx="1848">1.250075782649033</cx:pt>
          <cx:pt idx="1849">1.2316746183921294</cx:pt>
          <cx:pt idx="1850">1.2188674454026436</cx:pt>
          <cx:pt idx="1851">1.230042922583537</cx:pt>
          <cx:pt idx="1852">1.2323353125593068</cx:pt>
          <cx:pt idx="1853">1.2411368357926091</cx:pt>
          <cx:pt idx="1854">1.2447611508159486</cx:pt>
          <cx:pt idx="1855">1.2448158303993819</cx:pt>
          <cx:pt idx="1856">1.2789219250300541</cx:pt>
          <cx:pt idx="1857">1.2835335969984014</cx:pt>
          <cx:pt idx="1858">1.2625235864931839</cx:pt>
          <cx:pt idx="1859">1.2401256439987138</cx:pt>
          <cx:pt idx="1860">1.2282130563660185</cx:pt>
          <cx:pt idx="1861">1.1611739517559625</cx:pt>
          <cx:pt idx="1862">1.1279730607627341</cx:pt>
          <cx:pt idx="1863">1.1242741983690094</cx:pt>
          <cx:pt idx="1864">1.1184806322557321</cx:pt>
          <cx:pt idx="1865">1.1227792896795579</cx:pt>
          <cx:pt idx="1866">1.2131956379389011</cx:pt>
          <cx:pt idx="1867">1.2109746363539047</cx:pt>
          <cx:pt idx="1868">1.1991575896149684</cx:pt>
          <cx:pt idx="1869">1.2126113295525236</cx:pt>
          <cx:pt idx="1870">1.1979688006420814</cx:pt>
          <cx:pt idx="1871">1.2119859291564063</cx:pt>
          <cx:pt idx="1872">1.2072331290836034</cx:pt>
          <cx:pt idx="1873">1.2094955848999502</cx:pt>
          <cx:pt idx="1874">1.2061207700010625</cx:pt>
          <cx:pt idx="1875">1.1666581259287991</cx:pt>
          <cx:pt idx="1876">1.1351613025450162</cx:pt>
          <cx:pt idx="1877">1.1080205153180107</cx:pt>
          <cx:pt idx="1878">1.1099157189741053</cx:pt>
          <cx:pt idx="1879">1.1553191617866452</cx:pt>
          <cx:pt idx="1880">1.1569868169619111</cx:pt>
          <cx:pt idx="1881">1.1804602710861989</cx:pt>
          <cx:pt idx="1882">1.2119842434832278</cx:pt>
          <cx:pt idx="1883">1.207528356264479</cx:pt>
          <cx:pt idx="1884">1.2049450083378406</cx:pt>
          <cx:pt idx="1885">1.1681241280337558</cx:pt>
          <cx:pt idx="1886">1.1525857792349439</cx:pt>
          <cx:pt idx="1887">1.0584131965464409</cx:pt>
          <cx:pt idx="1888">0.88290783016073637</cx:pt>
          <cx:pt idx="1889">0.9087551452280721</cx:pt>
          <cx:pt idx="1890">0.91469390849428922</cx:pt>
          <cx:pt idx="1891">0.91655666984221884</cx:pt>
          <cx:pt idx="1892">0.8959124621216884</cx:pt>
          <cx:pt idx="1893">0.90307539070130904</cx:pt>
          <cx:pt idx="1894">0.92072587073040235</cx:pt>
          <cx:pt idx="1895">0.95811878851383858</cx:pt>
          <cx:pt idx="1896">0.96214377572236576</cx:pt>
          <cx:pt idx="1897">0.941128697791355</cx:pt>
          <cx:pt idx="1898">0.92367813134369525</cx:pt>
          <cx:pt idx="1899">0.90175742393001868</cx:pt>
          <cx:pt idx="1900">0.91603469906574686</cx:pt>
          <cx:pt idx="1901">0.94279166788440472</cx:pt>
          <cx:pt idx="1902">1.0653073664188359</cx:pt>
          <cx:pt idx="1903">1.1836968697981303</cx:pt>
          <cx:pt idx="1904">1.1890459716010329</cx:pt>
          <cx:pt idx="1905">1.2683126543748233</cx:pt>
          <cx:pt idx="1906">1.2563010220741344</cx:pt>
          <cx:pt idx="1907">1.2443272570271231</cx:pt>
          <cx:pt idx="1908">1.3277492476051824</cx:pt>
          <cx:pt idx="1909">1.3495870336107711</cx:pt>
          <cx:pt idx="1910">1.3274950944566424</cx:pt>
          <cx:pt idx="1911">1.3863565616857123</cx:pt>
          <cx:pt idx="1912">1.3556172264013642</cx:pt>
          <cx:pt idx="1913">1.3147317482636798</cx:pt>
          <cx:pt idx="1914">1.2815339430978123</cx:pt>
          <cx:pt idx="1915">1.2929286585612645</cx:pt>
          <cx:pt idx="1916">1.2833750865990909</cx:pt>
          <cx:pt idx="1917">1.3160127136033259</cx:pt>
          <cx:pt idx="1918">1.3548928458206253</cx:pt>
          <cx:pt idx="1919">1.3865495194519641</cx:pt>
          <cx:pt idx="1920">1.3260808129901605</cx:pt>
          <cx:pt idx="1921">1.3243538493467557</cx:pt>
          <cx:pt idx="1922">1.3357613108523141</cx:pt>
          <cx:pt idx="1923">1.2936329605259522</cx:pt>
          <cx:pt idx="1924">1.2968519368981792</cx:pt>
          <cx:pt idx="1925">1.2805232465465972</cx:pt>
          <cx:pt idx="1926">1.2809913835507183</cx:pt>
          <cx:pt idx="1927">1.2829782220597399</cx:pt>
          <cx:pt idx="1928">1.2354793593224569</cx:pt>
          <cx:pt idx="1929">1.1729526202973277</cx:pt>
          <cx:pt idx="1930">1.1421753438632061</cx:pt>
          <cx:pt idx="1931">1.153314065349649</cx:pt>
          <cx:pt idx="1932">1.2047370658568881</cx:pt>
          <cx:pt idx="1933">1.1857344713548399</cx:pt>
          <cx:pt idx="1934">1.158476288850125</cx:pt>
          <cx:pt idx="1935">1.154524433118099</cx:pt>
          <cx:pt idx="1936">1.154524433118099</cx:pt>
          <cx:pt idx="1937">1.1683150260096811</cx:pt>
          <cx:pt idx="1938">1.1693630285215624</cx:pt>
          <cx:pt idx="1939">1.1393790046025221</cx:pt>
          <cx:pt idx="1940">1.1579550012613782</cx:pt>
          <cx:pt idx="1941">1.1644400564912272</cx:pt>
          <cx:pt idx="1942">1.1446145991752696</cx:pt>
          <cx:pt idx="1943">1.1751562696358804</cx:pt>
          <cx:pt idx="1944">1.1690247750715912</cx:pt>
          <cx:pt idx="1945">1.1425606028490554</cx:pt>
          <cx:pt idx="1946">1.1232435751128336</cx:pt>
          <cx:pt idx="1947">1.1068037873335614</cx:pt>
          <cx:pt idx="1948">1.140756964306116</cx:pt>
          <cx:pt idx="1949">1.0944243834924352</cx:pt>
          <cx:pt idx="1950">1.1112521272522191</cx:pt>
          <cx:pt idx="1951">1.1529587930601097</cx:pt>
          <cx:pt idx="1952">1.1787230196230361</cx:pt>
          <cx:pt idx="1953">1.1715085394757123</cx:pt>
          <cx:pt idx="1954">1.1230368773806985</cx:pt>
          <cx:pt idx="1955">1.1455885466778946</cx:pt>
          <cx:pt idx="1956">1.1151852153414381</cx:pt>
          <cx:pt idx="1957">1.1129322888522435</cx:pt>
          <cx:pt idx="1958">1.0985557478720851</cx:pt>
          <cx:pt idx="1959">1.0909068931225829</cx:pt>
          <cx:pt idx="1960">1.0912071839387654</cx:pt>
          <cx:pt idx="1961">1.0675976448001356</cx:pt>
          <cx:pt idx="1962">1.0837579978249123</cx:pt>
          <cx:pt idx="1963">1.0486008086559817</cx:pt>
          <cx:pt idx="1964">1.0384826606925794</cx:pt>
          <cx:pt idx="1965">1.0390596451775804</cx:pt>
          <cx:pt idx="1966">1.0771067378543235</cx:pt>
          <cx:pt idx="1967">1.0650939682912128</cx:pt>
          <cx:pt idx="1968">1.0224530906504439</cx:pt>
          <cx:pt idx="1969">1.0464140507425335</cx:pt>
          <cx:pt idx="1970">1.0500402450044626</cx:pt>
          <cx:pt idx="1971">1.0524716429148031</cx:pt>
          <cx:pt idx="1972">1.0988390745818772</cx:pt>
          <cx:pt idx="1973">1.0609975018466025</cx:pt>
          <cx:pt idx="1974">1.0805225736920374</cx:pt>
          <cx:pt idx="1975">1.1097505289744807</cx:pt>
          <cx:pt idx="1976">1.1216686877867681</cx:pt>
          <cx:pt idx="1977">1.1347326907998607</cx:pt>
          <cx:pt idx="1978">1.1359177048792155</cx:pt>
          <cx:pt idx="1979">1.1121073669834782</cx:pt>
          <cx:pt idx="1980">1.145928087968743</cx:pt>
          <cx:pt idx="1981">1.129818521919834</cx:pt>
          <cx:pt idx="1982">1.135305936693926</cx:pt>
          <cx:pt idx="1983">1.1498923745804559</cx:pt>
          <cx:pt idx="1984">1.1446486994538063</cx:pt>
          <cx:pt idx="1985">1.1482524356229247</cx:pt>
          <cx:pt idx="1986">1.1200776662779341</cx:pt>
          <cx:pt idx="1987">1.1555575854683025</cx:pt>
          <cx:pt idx="1988">1.1824507991764892</cx:pt>
          <cx:pt idx="1989">1.1679345798441361</cx:pt>
          <cx:pt idx="1990">1.2168613778500927</cx:pt>
          <cx:pt idx="1991">1.2642082821454543</cx:pt>
          <cx:pt idx="1992">1.2366366978949985</cx:pt>
          <cx:pt idx="1993">1.1993698166075581</cx:pt>
          <cx:pt idx="1994">1.2434534808909361</cx:pt>
          <cx:pt idx="1995">1.2795522570394007</cx:pt>
          <cx:pt idx="1996">1.291548124980167</cx:pt>
          <cx:pt idx="1997">1.2749236536281869</cx:pt>
          <cx:pt idx="1998">1.2749590758770617</cx:pt>
          <cx:pt idx="1999">1.2608560839826763</cx:pt>
          <cx:pt idx="2000">1.2631046406902848</cx:pt>
          <cx:pt idx="2001">1.2442099881545943</cx:pt>
          <cx:pt idx="2002">1.2527483764202834</cx:pt>
          <cx:pt idx="2003">1.1934222048964001</cx:pt>
          <cx:pt idx="2004">1.1927327436812751</cx:pt>
          <cx:pt idx="2005">1.1932755137070832</cx:pt>
          <cx:pt idx="2006">1.1770853378039834</cx:pt>
          <cx:pt idx="2007">1.1479325970246808</cx:pt>
          <cx:pt idx="2008">1.1660956820882866</cx:pt>
          <cx:pt idx="2009">1.1626189383021956</cx:pt>
          <cx:pt idx="2010">1.2228305784759856</cx:pt>
          <cx:pt idx="2011">1.2575515551970402</cx:pt>
          <cx:pt idx="2012">1.2923016892018591</cx:pt>
          <cx:pt idx="2013">1.3017752973271475</cx:pt>
          <cx:pt idx="2014">1.2721897133158508</cx:pt>
          <cx:pt idx="2015">1.3104420989206873</cx:pt>
          <cx:pt idx="2016">1.344391775975972</cx:pt>
          <cx:pt idx="2017">1.3601026210492158</cx:pt>
          <cx:pt idx="2018">1.3457344798743107</cx:pt>
          <cx:pt idx="2019">1.3476914550684502</cx:pt>
          <cx:pt idx="2020">1.3873565023151511</cx:pt>
          <cx:pt idx="2021">1.3656486111120452</cx:pt>
          <cx:pt idx="2022">1.3238752174573893</cx:pt>
          <cx:pt idx="2023">1.3415120661611339</cx:pt>
          <cx:pt idx="2024">1.3675182764991258</cx:pt>
          <cx:pt idx="2025">1.3240175095486457</cx:pt>
          <cx:pt idx="2026">1.320488342381557</cx:pt>
          <cx:pt idx="2027">1.3371087408831925</cx:pt>
          <cx:pt idx="2028">1.3309894451969955</cx:pt>
          <cx:pt idx="2029">1.3309933229759088</cx:pt>
          <cx:pt idx="2030">1.3492279751888698</cx:pt>
          <cx:pt idx="2031">1.3385581233037158</cx:pt>
          <cx:pt idx="2032">1.3316194360930025</cx:pt>
          <cx:pt idx="2033">1.3165439441922355</cx:pt>
          <cx:pt idx="2034">1.3158392391268041</cx:pt>
          <cx:pt idx="2035">1.3217532344969791</cx:pt>
          <cx:pt idx="2036">1.2909955315048895</cx:pt>
          <cx:pt idx="2037">1.3297059259333872</cx:pt>
          <cx:pt idx="2038">1.3301614422187977</cx:pt>
          <cx:pt idx="2039">1.3033491185139856</cx:pt>
          <cx:pt idx="2040">1.2824659546090038</cx:pt>
          <cx:pt idx="2041">1.2389549012421031</cx:pt>
          <cx:pt idx="2042">1.2010542859710647</cx:pt>
          <cx:pt idx="2043">1.1924315989940764</cx:pt>
          <cx:pt idx="2044">1.1415223753099779</cx:pt>
          <cx:pt idx="2045">1.1417849636537549</cx:pt>
          <cx:pt idx="2046">1.101289469042384</cx:pt>
          <cx:pt idx="2047">1.092084226142493</cx:pt>
          <cx:pt idx="2048">1.0656074041526487</cx:pt>
          <cx:pt idx="2049">1.0743303991098891</cx:pt>
          <cx:pt idx="2050">1.0678498142559429</cx:pt>
          <cx:pt idx="2051">1.0161049391238233</cx:pt>
          <cx:pt idx="2052">0.9926722921336596</cx:pt>
          <cx:pt idx="2053">1.0104816268886687</cx:pt>
          <cx:pt idx="2054">0.9785154434745934</cx:pt>
          <cx:pt idx="2055">1.0100936824432813</cx:pt>
          <cx:pt idx="2056">1.0496021775810094</cx:pt>
          <cx:pt idx="2057">1.0272959599099534</cx:pt>
          <cx:pt idx="2058">1.0004245335415505</cx:pt>
          <cx:pt idx="2059">1.004375053111052</cx:pt>
          <cx:pt idx="2060">1.0242623361880165</cx:pt>
          <cx:pt idx="2061">1.0023143112290793</cx:pt>
          <cx:pt idx="2062">1.0306371346045158</cx:pt>
          <cx:pt idx="2063">1.0480206638363374</cx:pt>
          <cx:pt idx="2064">1.0454591006743381</cx:pt>
          <cx:pt idx="2065">1.0501804248466939</cx:pt>
          <cx:pt idx="2066">1.0324526597494221</cx:pt>
          <cx:pt idx="2067">1.0337478530356978</cx:pt>
          <cx:pt idx="2068">1.0031221154448864</cx:pt>
          <cx:pt idx="2069">1.0051858010455861</cx:pt>
          <cx:pt idx="2070">0.99274551417469459</cx:pt>
          <cx:pt idx="2071">1.0039768236197446</cx:pt>
          <cx:pt idx="2072">1.054219376896316</cx:pt>
          <cx:pt idx="2073">1.0870963594013443</cx:pt>
          <cx:pt idx="2074">1.0915791067240894</cx:pt>
          <cx:pt idx="2075">1.0921470419729771</cx:pt>
          <cx:pt idx="2076">1.1247872917191517</cx:pt>
          <cx:pt idx="2077">1.1657254882597772</cx:pt>
          <cx:pt idx="2078">1.1418829008001592</cx:pt>
          <cx:pt idx="2079">1.1770382915542499</cx:pt>
          <cx:pt idx="2080">1.1813711734515817</cx:pt>
          <cx:pt idx="2081">1.1617951441580607</cx:pt>
          <cx:pt idx="2082">1.1642014199598625</cx:pt>
          <cx:pt idx="2083">1.1930572456499522</cx:pt>
          <cx:pt idx="2084">1.1792364031964315</cx:pt>
          <cx:pt idx="2085">1.179362959078889</cx:pt>
          <cx:pt idx="2086">1.1250879057651122</cx:pt>
          <cx:pt idx="2087">1.128606334407404</cx:pt>
          <cx:pt idx="2088">1.1078610603465848</cx:pt>
          <cx:pt idx="2089">1.1157920182350249</cx:pt>
          <cx:pt idx="2090">1.1207305605038675</cx:pt>
          <cx:pt idx="2091">1.1009946627081482</cx:pt>
          <cx:pt idx="2092">1.1218487046518499</cx:pt>
          <cx:pt idx="2093">1.0860535244933911</cx:pt>
          <cx:pt idx="2094">1.0647092591180063</cx:pt>
          <cx:pt idx="2095">1.0779084685940024</cx:pt>
          <cx:pt idx="2096">1.0847849992619076</cx:pt>
          <cx:pt idx="2097">1.0955392446458232</cx:pt>
          <cx:pt idx="2098">1.1223011115321229</cx:pt>
          <cx:pt idx="2099">1.1161675019785873</cx:pt>
          <cx:pt idx="2100">1.1639638430625716</cx:pt>
          <cx:pt idx="2101">1.1820628042190826</cx:pt>
          <cx:pt idx="2102">1.1703383390955755</cx:pt>
          <cx:pt idx="2103">1.1356266802912165</cx:pt>
          <cx:pt idx="2104">1.0973296032024822</cx:pt>
          <cx:pt idx="2105">1.0820609566833541</cx:pt>
          <cx:pt idx="2106">1.110917861330736</cx:pt>
          <cx:pt idx="2107">1.1074426609589449</cx:pt>
          <cx:pt idx="2108">1.0756854278946737</cx:pt>
          <cx:pt idx="2109">1.071958011535258</cx:pt>
          <cx:pt idx="2110">1.0689179535389284</cx:pt>
          <cx:pt idx="2111">1.0715492753309885</cx:pt>
          <cx:pt idx="2112">1.0894515735831476</cx:pt>
          <cx:pt idx="2113">1.0837706974868733</cx:pt>
          <cx:pt idx="2114">1.0520594242998185</cx:pt>
          <cx:pt idx="2115">1.0456987168642857</cx:pt>
          <cx:pt idx="2116">1.0517124796183352</cx:pt>
          <cx:pt idx="2117">1.0828309174099737</cx:pt>
          <cx:pt idx="2118">1.0565411207259976</cx:pt>
          <cx:pt idx="2119">1.0552989690028582</cx:pt>
          <cx:pt idx="2120">1.0413194690195422</cx:pt>
          <cx:pt idx="2121">1.0417485301165541</cx:pt>
          <cx:pt idx="2122">1.0409389888435465</cx:pt>
          <cx:pt idx="2123">1.0609139902101663</cx:pt>
          <cx:pt idx="2124">1.099138861363359</cx:pt>
          <cx:pt idx="2125">1.1705236398287098</cx:pt>
          <cx:pt idx="2126">1.1609334397858064</cx:pt>
          <cx:pt idx="2127">1.1561429200634776</cx:pt>
          <cx:pt idx="2128">1.1516154151955982</cx:pt>
          <cx:pt idx="2129">1.1433091003419558</cx:pt>
          <cx:pt idx="2130">1.1375931959931429</cx:pt>
          <cx:pt idx="2131">1.1285961400393978</cx:pt>
          <cx:pt idx="2132">1.1086821587056672</cx:pt>
          <cx:pt idx="2133">1.122823725381491</cx:pt>
          <cx:pt idx="2134">1.1118414445636853</cx:pt>
          <cx:pt idx="2135">1.137788365906155</cx:pt>
          <cx:pt idx="2136">1.1336187180218322</cx:pt>
          <cx:pt idx="2137">1.12304788817743</cx:pt>
          <cx:pt idx="2138">1.0959889725526393</cx:pt>
          <cx:pt idx="2139">1.0779273221455874</cx:pt>
          <cx:pt idx="2140">1.0879854126156823</cx:pt>
          <cx:pt idx="2141">1.0899424863982108</cx:pt>
          <cx:pt idx="2142">1.0784030407410627</cx:pt>
          <cx:pt idx="2143">1.1022506789019384</cx:pt>
          <cx:pt idx="2144">1.1419127511254068</cx:pt>
          <cx:pt idx="2145">1.1333716944804395</cx:pt>
          <cx:pt idx="2146">1.1291260299000505</cx:pt>
          <cx:pt idx="2147">1.1602039123703944</cx:pt>
          <cx:pt idx="2148">1.1797411781029887</cx:pt>
          <cx:pt idx="2149">1.1604430003189503</cx:pt>
          <cx:pt idx="2150">1.1589612516368695</cx:pt>
          <cx:pt idx="2151">1.1619813445840215</cx:pt>
          <cx:pt idx="2152">1.1964885002300669</cx:pt>
          <cx:pt idx="2153">1.2202427045733633</cx:pt>
          <cx:pt idx="2154">1.1623169297404603</cx:pt>
          <cx:pt idx="2155">1.152760128551684</cx:pt>
          <cx:pt idx="2156">1.1230656967158177</cx:pt>
          <cx:pt idx="2157">1.1228864495106454</cx:pt>
          <cx:pt idx="2158">1.1432917011762549</cx:pt>
          <cx:pt idx="2159">1.1411573072981658</cx:pt>
          <cx:pt idx="2160">1.1567939566165255</cx:pt>
          <cx:pt idx="2161">1.140746501482762</cx:pt>
          <cx:pt idx="2162">1.1217243829915837</cx:pt>
          <cx:pt idx="2163">1.1949782919700134</cx:pt>
          <cx:pt idx="2164">1.1913611082801812</cx:pt>
          <cx:pt idx="2165">1.2025007097666294</cx:pt>
          <cx:pt idx="2166">1.1966055035736698</cx:pt>
          <cx:pt idx="2167">1.1702082343873492</cx:pt>
          <cx:pt idx="2168">1.143114120494152</cx:pt>
          <cx:pt idx="2169">1.1372474787648417</cx:pt>
          <cx:pt idx="2170">1.1374017740881734</cx:pt>
          <cx:pt idx="2171">1.1053647284022134</cx:pt>
          <cx:pt idx="2172">1.1043019495133226</cx:pt>
          <cx:pt idx="2173">1.1036205324158719</cx:pt>
          <cx:pt idx="2174">1.0702803371079936</cx:pt>
          <cx:pt idx="2175">1.0382830119496447</cx:pt>
          <cx:pt idx="2176">1.0451120226009012</cx:pt>
          <cx:pt idx="2177">1.0407638840609295</cx:pt>
          <cx:pt idx="2178">1.0272563939566068</cx:pt>
          <cx:pt idx="2179">1.0505472204358979</cx:pt>
          <cx:pt idx="2180">1.0743132840368605</cx:pt>
          <cx:pt idx="2181">1.0757737900282884</cx:pt>
          <cx:pt idx="2182">1.0903176019482945</cx:pt>
          <cx:pt idx="2183">1.0872392778555364</cx:pt>
          <cx:pt idx="2184">1.0713724491189716</cx:pt>
          <cx:pt idx="2185">1.0427479205476515</cx:pt>
          <cx:pt idx="2186">1.0612284421610707</cx:pt>
          <cx:pt idx="2187">1.069189623786587</cx:pt>
          <cx:pt idx="2188">1.0742859594077572</cx:pt>
          <cx:pt idx="2189">1.0723925617289651</cx:pt>
          <cx:pt idx="2190">1.0818625913981248</cx:pt>
          <cx:pt idx="2191">1.0501770460055717</cx:pt>
          <cx:pt idx="2192">1.0677888921877627</cx:pt>
          <cx:pt idx="2193">1.0980253047596278</cx:pt>
          <cx:pt idx="2194">1.4105539977771715</cx:pt>
          <cx:pt idx="2195">1.4796067481031092</cx:pt>
          <cx:pt idx="2196">1.556280926626245</cx:pt>
          <cx:pt idx="2197">1.6684611414849191</cx:pt>
          <cx:pt idx="2198">1.6797507495593385</cx:pt>
          <cx:pt idx="2199">1.6761082676042085</cx:pt>
          <cx:pt idx="2200">1.7633707945692487</cx:pt>
          <cx:pt idx="2201">1.8596576167705985</cx:pt>
          <cx:pt idx="2202">1.8755709094990618</cx:pt>
          <cx:pt idx="2203">1.9682661438187732</cx:pt>
          <cx:pt idx="2204">2.2264342483813859</cx:pt>
          <cx:pt idx="2205">2.3836799056234694</cx:pt>
          <cx:pt idx="2206">2.4897133315139461</cx:pt>
          <cx:pt idx="2207">2.4819473363963942</cx:pt>
          <cx:pt idx="2208">2.5190721538155723</cx:pt>
          <cx:pt idx="2209">2.5100925742256583</cx:pt>
          <cx:pt idx="2210">2.5899030579275282</cx:pt>
          <cx:pt idx="2211">2.7167362613950017</cx:pt>
          <cx:pt idx="2212">2.7161045001829325</cx:pt>
          <cx:pt idx="2213">2.7961375048871533</cx:pt>
          <cx:pt idx="2214">2.8934177431817782</cx:pt>
          <cx:pt idx="2215">2.9095921082789489</cx:pt>
          <cx:pt idx="2216">3.0140254224727143</cx:pt>
          <cx:pt idx="2217">3.1758540972960052</cx:pt>
          <cx:pt idx="2218">3.3406385327436445</cx:pt>
          <cx:pt idx="2219">3.3838298592170717</cx:pt>
          <cx:pt idx="2220">3.4981241055835213</cx:pt>
          <cx:pt idx="2221">3.4986303925473337</cx:pt>
          <cx:pt idx="2222">3.5610211172990058</cx:pt>
          <cx:pt idx="2223">3.6736973845321392</cx:pt>
          <cx:pt idx="2224">3.627155614177914</cx:pt>
          <cx:pt idx="2225">3.5688538866863295</cx:pt>
          <cx:pt idx="2226">3.6412936080169294</cx:pt>
          <cx:pt idx="2227">3.7577084643737075</cx:pt>
          <cx:pt idx="2228">3.7419486614525104</cx:pt>
          <cx:pt idx="2229">3.7479396777372216</cx:pt>
          <cx:pt idx="2230">3.782648102410092</cx:pt>
          <cx:pt idx="2231">3.7388659369685429</cx:pt>
          <cx:pt idx="2232">3.6571261118328233</cx:pt>
          <cx:pt idx="2233">3.682941642191055</cx:pt>
          <cx:pt idx="2234">3.698117277460176</cx:pt>
          <cx:pt idx="2235">3.7236908213939204</cx:pt>
          <cx:pt idx="2236">3.7513840599959098</cx:pt>
          <cx:pt idx="2237">3.6397794745912719</cx:pt>
          <cx:pt idx="2238">3.6839508653746487</cx:pt>
          <cx:pt idx="2239">3.5918979917023957</cx:pt>
          <cx:pt idx="2240">3.5780249853374317</cx:pt>
          <cx:pt idx="2241">3.5735171072948608</cx:pt>
          <cx:pt idx="2242">3.596838785282408</cx:pt>
          <cx:pt idx="2243">3.5760742877949223</cx:pt>
          <cx:pt idx="2244">3.6023671727506938</cx:pt>
          <cx:pt idx="2245">3.3330732049037435</cx:pt>
          <cx:pt idx="2246">7.6261178133586709</cx:pt>
          <cx:pt idx="2247">9.956071914012556</cx:pt>
          <cx:pt idx="2248">11.823605594204844</cx:pt>
          <cx:pt idx="2249">13.335481735515978</cx:pt>
          <cx:pt idx="2250">14.578678716477683</cx:pt>
          <cx:pt idx="2251">15.651207270758952</cx:pt>
          <cx:pt idx="2252">16.477393395749196</cx:pt>
          <cx:pt idx="2253">17.251638843764916</cx:pt>
          <cx:pt idx="2254">17.934061141644904</cx:pt>
          <cx:pt idx="2255">18.399434569386045</cx:pt>
          <cx:pt idx="2256">18.752998492857564</cx:pt>
          <cx:pt idx="2257">18.835925237956648</cx:pt>
          <cx:pt idx="2258">18.808690613135326</cx:pt>
          <cx:pt idx="2259">18.687551057217984</cx:pt>
          <cx:pt idx="2260">18.597628840651257</cx:pt>
          <cx:pt idx="2261">18.577260449443333</cx:pt>
          <cx:pt idx="2262">18.712387237576934</cx:pt>
          <cx:pt idx="2263">18.894990551915846</cx:pt>
          <cx:pt idx="2264">19.070745783298111</cx:pt>
          <cx:pt idx="2265">19.297455740706237</cx:pt>
          <cx:pt idx="2266">19.519519323581097</cx:pt>
          <cx:pt idx="2267">19.80541100712859</cx:pt>
          <cx:pt idx="2268">19.96279011141123</cx:pt>
          <cx:pt idx="2269">20.154470135719595</cx:pt>
          <cx:pt idx="2270">20.317719487218302</cx:pt>
          <cx:pt idx="2271">20.533219096177124</cx:pt>
          <cx:pt idx="2272">20.604348544050872</cx:pt>
          <cx:pt idx="2273">20.859980319375449</cx:pt>
          <cx:pt idx="2274">20.95645150747011</cx:pt>
          <cx:pt idx="2275">21.201385093726142</cx:pt>
          <cx:pt idx="2276">21.370342951142877</cx:pt>
          <cx:pt idx="2277">21.399879087187294</cx:pt>
          <cx:pt idx="2278">21.313530197092298</cx:pt>
          <cx:pt idx="2279">21.079327941175272</cx:pt>
          <cx:pt idx="2280">20.802393209095101</cx:pt>
          <cx:pt idx="2281">20.402051525560182</cx:pt>
          <cx:pt idx="2282">19.934610929316516</cx:pt>
          <cx:pt idx="2283">19.338285470698693</cx:pt>
          <cx:pt idx="2284">18.647931944493237</cx:pt>
          <cx:pt idx="2285">17.799117720069805</cx:pt>
          <cx:pt idx="2286">16.804334348709727</cx:pt>
          <cx:pt idx="2287">15.657068443934973</cx:pt>
          <cx:pt idx="2288">14.287381092930348</cx:pt>
          <cx:pt idx="2289">12.598776182245714</cx:pt>
          <cx:pt idx="2290">10.483367133302767</cx:pt>
          <cx:pt idx="2291">7.5810766818383994</cx:pt>
          <cx:pt idx="2292">1.1617485893885287</cx:pt>
          <cx:pt idx="2293">1.1418372292338852</cx:pt>
          <cx:pt idx="2294">1.1428326437466261</cx:pt>
          <cx:pt idx="2295">1.1643532516481652</cx:pt>
          <cx:pt idx="2296">1.1784661983464613</cx:pt>
          <cx:pt idx="2297">1.1787376152441214</cx:pt>
          <cx:pt idx="2298">1.1419164235089927</cx:pt>
          <cx:pt idx="2299">1.1604013951428451</cx:pt>
          <cx:pt idx="2300">1.1788121413168973</cx:pt>
          <cx:pt idx="2301">1.2146012222257381</cx:pt>
          <cx:pt idx="2302">1.2177425792207934</cx:pt>
          <cx:pt idx="2303">1.18613368482628</cx:pt>
          <cx:pt idx="2304">1.1540109576267372</cx:pt>
          <cx:pt idx="2305">1.1365414429808101</cx:pt>
          <cx:pt idx="2306">1.0945013103142311</cx:pt>
          <cx:pt idx="2307">1.0899508719322191</cx:pt>
          <cx:pt idx="2308">1.0737525395215748</cx:pt>
          <cx:pt idx="2309">1.1543514680667912</cx:pt>
          <cx:pt idx="2310">1.1367620494145845</cx:pt>
          <cx:pt idx="2311">1.140296320666137</cx:pt>
          <cx:pt idx="2312">1.1266306223158427</cx:pt>
          <cx:pt idx="2313">1.1483928929417571</cx:pt>
          <cx:pt idx="2314">1.2199956812897288</cx:pt>
          <cx:pt idx="2315">1.2189005269601183</cx:pt>
          <cx:pt idx="2316">1.2013717070476655</cx:pt>
          <cx:pt idx="2317">1.1953644335650349</cx:pt>
          <cx:pt idx="2318">1.2546440183985352</cx:pt>
          <cx:pt idx="2319">1.2496588781855451</cx:pt>
          <cx:pt idx="2320">1.2594462001938764</cx:pt>
          <cx:pt idx="2321">1.2762595718049106</cx:pt>
          <cx:pt idx="2322">1.3067832129283707</cx:pt>
          <cx:pt idx="2323">1.3075597397894587</cx:pt>
          <cx:pt idx="2324">1.325652527495766</cx:pt>
          <cx:pt idx="2325">1.3607359646865351</cx:pt>
          <cx:pt idx="2326">1.351997407263531</cx:pt>
          <cx:pt idx="2327">1.3729303876971923</cx:pt>
          <cx:pt idx="2328">1.3714746792044401</cx:pt>
          <cx:pt idx="2329">1.3754026585397738</cx:pt>
          <cx:pt idx="2330">1.3665342710589048</cx:pt>
          <cx:pt idx="2331">1.3458226088989784</cx:pt>
          <cx:pt idx="2332">1.3327187024218365</cx:pt>
          <cx:pt idx="2333">1.3003069116620609</cx:pt>
          <cx:pt idx="2334">1.3003346963688398</cx:pt>
          <cx:pt idx="2335">1.2866880882945708</cx:pt>
          <cx:pt idx="2336">1.3048238046917755</cx:pt>
          <cx:pt idx="2337">1.2727679598300272</cx:pt>
          <cx:pt idx="2338">1.2365620916280793</cx:pt>
          <cx:pt idx="2339">1.2498645087858835</cx:pt>
          <cx:pt idx="2340">1.2096974650668839</cx:pt>
          <cx:pt idx="2341">1.2293840576851158</cx:pt>
          <cx:pt idx="2342">1.2112526174278444</cx:pt>
          <cx:pt idx="2343">1.2452992903638236</cx:pt>
          <cx:pt idx="2344">1.240884006778864</cx:pt>
          <cx:pt idx="2345">1.2335692596200536</cx:pt>
          <cx:pt idx="2346">1.239862722196482</cx:pt>
          <cx:pt idx="2347">1.2668712624804948</cx:pt>
          <cx:pt idx="2348">1.2694268455208557</cx:pt>
          <cx:pt idx="2349">1.2186306434524321</cx:pt>
          <cx:pt idx="2350">1.2167399594951487</cx:pt>
          <cx:pt idx="2351">1.1869284476264541</cx:pt>
          <cx:pt idx="2352">1.1628260902340599</cx:pt>
          <cx:pt idx="2353">1.1249117528112602</cx:pt>
          <cx:pt idx="2354">1.1030094707087137</cx:pt>
          <cx:pt idx="2355">1.0906716880816123</cx:pt>
          <cx:pt idx="2356">1.0610295264100698</cx:pt>
          <cx:pt idx="2357">1.0340090055971045</cx:pt>
          <cx:pt idx="2358">1.0339345458786497</cx:pt>
          <cx:pt idx="2359">1.0931373414680463</cx:pt>
          <cx:pt idx="2360">1.1118445392993987</cx:pt>
          <cx:pt idx="2361">1.1057959717700168</cx:pt>
          <cx:pt idx="2362">1.1139879924450835</cx:pt>
          <cx:pt idx="2363">1.0883752317841904</cx:pt>
          <cx:pt idx="2364">1.0837554181878921</cx:pt>
          <cx:pt idx="2365">1.0824316512232506</cx:pt>
          <cx:pt idx="2366">1.0817175709147961</cx:pt>
          <cx:pt idx="2367">1.0655802599159676</cx:pt>
          <cx:pt idx="2368">1.1001505273351</cx:pt>
          <cx:pt idx="2369">1.1063904306103862</cx:pt>
          <cx:pt idx="2370">1.0997720193856797</cx:pt>
          <cx:pt idx="2371">1.1027020576551894</cx:pt>
          <cx:pt idx="2372">1.0488020816396262</cx:pt>
          <cx:pt idx="2373">1.0508137143973673</cx:pt>
          <cx:pt idx="2374">1.0006364641233765</cx:pt>
          <cx:pt idx="2375">1.0480007592544243</cx:pt>
          <cx:pt idx="2376">1.0173429444718562</cx:pt>
          <cx:pt idx="2377">1.0196737829599787</cx:pt>
          <cx:pt idx="2378">0.99476619612159922</cx:pt>
          <cx:pt idx="2379">1.0045620668911202</cx:pt>
          <cx:pt idx="2380">1.0049036759060355</cx:pt>
          <cx:pt idx="2381">1.013559892613149</cx:pt>
          <cx:pt idx="2382">1.0263485752167547</cx:pt>
          <cx:pt idx="2383">1.0260694394745689</cx:pt>
          <cx:pt idx="2384">1.0287840196755513</cx:pt>
          <cx:pt idx="2385">1.0013140828297176</cx:pt>
          <cx:pt idx="2386">1.0071602791795304</cx:pt>
          <cx:pt idx="2387">1.0412850827971725</cx:pt>
          <cx:pt idx="2388">1.0359563655858528</cx:pt>
          <cx:pt idx="2389">1.0357138725567265</cx:pt>
          <cx:pt idx="2390">0.99097877107997745</cx:pt>
          <cx:pt idx="2391">0.97828454202307114</cx:pt>
          <cx:pt idx="2392">1.0323951689862927</cx:pt>
          <cx:pt idx="2393">1.0401568326743516</cx:pt>
          <cx:pt idx="2394">1.0258133302437371</cx:pt>
          <cx:pt idx="2395">1.022586790371538</cx:pt>
          <cx:pt idx="2396">1.0389432971068124</cx:pt>
          <cx:pt idx="2397">1.0391751056895562</cx:pt>
          <cx:pt idx="2398">1.057892244040006</cx:pt>
          <cx:pt idx="2399">1.0243131031736992</cx:pt>
          <cx:pt idx="2400">1.0304241423042642</cx:pt>
          <cx:pt idx="2401">1.0335020475129397</cx:pt>
          <cx:pt idx="2402">1.0524072590784612</cx:pt>
          <cx:pt idx="2403">1.0646812623861615</cx:pt>
          <cx:pt idx="2404">1.0894933636666559</cx:pt>
          <cx:pt idx="2405">1.1189199575237854</cx:pt>
          <cx:pt idx="2406">1.0598458390796182</cx:pt>
          <cx:pt idx="2407">1.0626378803270109</cx:pt>
          <cx:pt idx="2408">1.0888457190989</cx:pt>
          <cx:pt idx="2409">1.0829435196106338</cx:pt>
          <cx:pt idx="2410">1.0921148452268359</cx:pt>
          <cx:pt idx="2411">1.1360491592830357</cx:pt>
          <cx:pt idx="2412">1.1753229730202208</cx:pt>
          <cx:pt idx="2413">1.1791969532463416</cx:pt>
          <cx:pt idx="2414">1.242426389502949</cx:pt>
          <cx:pt idx="2415">1.2199601541762657</cx:pt>
          <cx:pt idx="2416">1.2694817559033407</cx:pt>
          <cx:pt idx="2417">1.3135701986063273</cx:pt>
          <cx:pt idx="2418">1.3571551127266184</cx:pt>
          <cx:pt idx="2419">1.50985098602478</cx:pt>
          <cx:pt idx="2420">1.5650851946992108</cx:pt>
          <cx:pt idx="2421">1.7643790220169056</cx:pt>
          <cx:pt idx="2422">0.38183766184073509</cx:pt>
        </cx:lvl>
      </cx:numDim>
    </cx:data>
    <cx:data id="1">
      <cx:numDim type="val">
        <cx:f>'Data Repository Table'!$D$4937:$D$7360</cx:f>
        <cx:lvl ptCount="2424" formatCode="General">
          <cx:pt idx="0">1.2458045722576487</cx:pt>
          <cx:pt idx="1">1.2594321130223041</cx:pt>
          <cx:pt idx="2">1.2099775168976687</cx:pt>
          <cx:pt idx="3">1.2286271733861316</cx:pt>
          <cx:pt idx="4">1.2401609330183505</cx:pt>
          <cx:pt idx="5">1.2397680150668491</cx:pt>
          <cx:pt idx="6">1.209528033786786</cx:pt>
          <cx:pt idx="7">1.1991856555842966</cx:pt>
          <cx:pt idx="8">1.2126883846559964</cx:pt>
          <cx:pt idx="9">1.195738400562868</cx:pt>
          <cx:pt idx="10">1.1924678485780962</cx:pt>
          <cx:pt idx="11">1.2256426885516021</cx:pt>
          <cx:pt idx="12">1.2329857981723162</cx:pt>
          <cx:pt idx="13">1.2117779526182231</cx:pt>
          <cx:pt idx="14">1.1863785140058056</cx:pt>
          <cx:pt idx="15">1.1763148214401555</cx:pt>
          <cx:pt idx="16">1.1956932573161889</cx:pt>
          <cx:pt idx="17">1.2296513187043707</cx:pt>
          <cx:pt idx="18">1.2233538423759147</cx:pt>
          <cx:pt idx="19">1.191221745651005</cx:pt>
          <cx:pt idx="20">1.222107997269164</cx:pt>
          <cx:pt idx="21">1.221285767022273</cx:pt>
          <cx:pt idx="22">1.2569657098341722</cx:pt>
          <cx:pt idx="23">1.233129335061512</cx:pt>
          <cx:pt idx="24">1.2559397800781673</cx:pt>
          <cx:pt idx="25">1.2625367874976738</cx:pt>
          <cx:pt idx="26">1.2652474788734804</cx:pt>
          <cx:pt idx="27">1.2526796224730168</cx:pt>
          <cx:pt idx="28">1.2372864864138644</cx:pt>
          <cx:pt idx="29">1.2649709079063685</cx:pt>
          <cx:pt idx="30">1.271360713769357</cx:pt>
          <cx:pt idx="31">1.2973661490616988</cx:pt>
          <cx:pt idx="32">1.2887043589323279</cx:pt>
          <cx:pt idx="33">1.2820488474749421</cx:pt>
          <cx:pt idx="34">1.283398546031975</cx:pt>
          <cx:pt idx="35">1.2744841672116278</cx:pt>
          <cx:pt idx="36">1.2911309537707418</cx:pt>
          <cx:pt idx="37">1.2927399425792427</cx:pt>
          <cx:pt idx="38">1.31005195661556</cx:pt>
          <cx:pt idx="39">1.2958816486515374</cx:pt>
          <cx:pt idx="40">1.2788232998573585</cx:pt>
          <cx:pt idx="41">1.3083819112959527</cx:pt>
          <cx:pt idx="42">1.3054971450366806</cx:pt>
          <cx:pt idx="43">1.3019328063529483</cx:pt>
          <cx:pt idx="44">1.3419646166192549</cx:pt>
          <cx:pt idx="45">1.3402103028681647</cx:pt>
          <cx:pt idx="46">1.3443397068121683</cx:pt>
          <cx:pt idx="47">1.3343047805174899</cx:pt>
          <cx:pt idx="48">1.3154484905091473</cx:pt>
          <cx:pt idx="49">1.2743729640936758</cx:pt>
          <cx:pt idx="50">1.2665087903875876</cx:pt>
          <cx:pt idx="51">1.2467462167707817</cx:pt>
          <cx:pt idx="52">1.2096905318285738</cx:pt>
          <cx:pt idx="53">1.2068188878025519</cx:pt>
          <cx:pt idx="54">1.2335502570058257</cx:pt>
          <cx:pt idx="55">1.2107741236476035</cx:pt>
          <cx:pt idx="56">1.1887612600237827</cx:pt>
          <cx:pt idx="57">1.1996641106970825</cx:pt>
          <cx:pt idx="58">1.2006080896555025</cx:pt>
          <cx:pt idx="59">1.1953603856632113</cx:pt>
          <cx:pt idx="60">1.1762761543948121</cx:pt>
          <cx:pt idx="61">1.1682648653875214</cx:pt>
          <cx:pt idx="62">1.1361566036233688</cx:pt>
          <cx:pt idx="63">1.1544361375576062</cx:pt>
          <cx:pt idx="64">1.1681030481865871</cx:pt>
          <cx:pt idx="65">1.1322870565782441</cx:pt>
          <cx:pt idx="66">1.1541562108916561</cx:pt>
          <cx:pt idx="67">1.1878567489028202</cx:pt>
          <cx:pt idx="68">1.1854464246883747</cx:pt>
          <cx:pt idx="69">1.1798909189603761</cx:pt>
          <cx:pt idx="70">1.1587571205891805</cx:pt>
          <cx:pt idx="71">1.1926999280118906</cx:pt>
          <cx:pt idx="72">1.1834592088131852</cx:pt>
          <cx:pt idx="73">1.1933649001651738</cx:pt>
          <cx:pt idx="74">1.201947970891911</cx:pt>
          <cx:pt idx="75">1.2048282793807996</cx:pt>
          <cx:pt idx="76">1.240062953656893</cx:pt>
          <cx:pt idx="77">1.2245717267593981</cx:pt>
          <cx:pt idx="78">1.2114181683030112</cx:pt>
          <cx:pt idx="79">1.1976031618751399</cx:pt>
          <cx:pt idx="80">1.2233493597145413</cx:pt>
          <cx:pt idx="81">1.2306810772813948</cx:pt>
          <cx:pt idx="82">1.2707078714730837</cx:pt>
          <cx:pt idx="83">1.2940981000191283</cx:pt>
          <cx:pt idx="84">1.2858609098848488</cx:pt>
          <cx:pt idx="85">1.2396364364698449</cx:pt>
          <cx:pt idx="86">1.2442023830118927</cx:pt>
          <cx:pt idx="87">1.2503796412737327</cx:pt>
          <cx:pt idx="88">1.244696707022686</cx:pt>
          <cx:pt idx="89">1.2264306984353075</cx:pt>
          <cx:pt idx="90">1.2403703054425543</cx:pt>
          <cx:pt idx="91">1.2587273825796887</cx:pt>
          <cx:pt idx="92">1.237091194559202</cx:pt>
          <cx:pt idx="93">1.2635333628914531</cx:pt>
          <cx:pt idx="94">1.2476736201289145</cx:pt>
          <cx:pt idx="95">1.2440084361640444</cx:pt>
          <cx:pt idx="96">1.2368531001690737</cx:pt>
          <cx:pt idx="97">1.1896755679550821</cx:pt>
          <cx:pt idx="98">1.2031995874799108</cx:pt>
          <cx:pt idx="99">1.2070001915350266</cx:pt>
          <cx:pt idx="100">1.1982735789011094</cx:pt>
          <cx:pt idx="101">1.2104488636918549</cx:pt>
          <cx:pt idx="102">1.1788460732920683</cx:pt>
          <cx:pt idx="103">1.1739999633639238</cx:pt>
          <cx:pt idx="104">1.1266376849361464</cx:pt>
          <cx:pt idx="105">1.1251027193248877</cx:pt>
          <cx:pt idx="106">1.0785937678890196</cx:pt>
          <cx:pt idx="107">1.0422666573129147</cx:pt>
          <cx:pt idx="108">1.0426485093158167</cx:pt>
          <cx:pt idx="109">1.0410657277340205</cx:pt>
          <cx:pt idx="110">1.064198724266846</cx:pt>
          <cx:pt idx="111">1.0562466517093969</cx:pt>
          <cx:pt idx="112">1.0896342485893717</cx:pt>
          <cx:pt idx="113">1.0572869520261425</cx:pt>
          <cx:pt idx="114">1.0547723598875707</cx:pt>
          <cx:pt idx="115">1.0180201109195037</cx:pt>
          <cx:pt idx="116">1.0377712885370394</cx:pt>
          <cx:pt idx="117">1.0550961837620523</cx:pt>
          <cx:pt idx="118">1.0581811337516638</cx:pt>
          <cx:pt idx="119">1.0812395316169225</cx:pt>
          <cx:pt idx="120">1.1385666333134055</cx:pt>
          <cx:pt idx="121">1.1454541288459881</cx:pt>
          <cx:pt idx="122">1.150716747187623</cx:pt>
          <cx:pt idx="123">1.1612658091797465</cx:pt>
          <cx:pt idx="124">1.1367128612944681</cx:pt>
          <cx:pt idx="125">1.1234882315590189</cx:pt>
          <cx:pt idx="126">1.1077660363984125</cx:pt>
          <cx:pt idx="127">1.117463718109148</cx:pt>
          <cx:pt idx="128">1.1216052244751233</cx:pt>
          <cx:pt idx="129">1.0978778160272347</cx:pt>
          <cx:pt idx="130">1.1273564090908779</cx:pt>
          <cx:pt idx="131">1.1485076806330541</cx:pt>
          <cx:pt idx="132">1.1255041403266681</cx:pt>
          <cx:pt idx="133">1.1379407925335252</cx:pt>
          <cx:pt idx="134">1.1312594560883225</cx:pt>
          <cx:pt idx="135">1.1385943040641437</cx:pt>
          <cx:pt idx="136">1.1371533975072867</cx:pt>
          <cx:pt idx="137">1.1431207050161234</cx:pt>
          <cx:pt idx="138">1.1462191237149604</cx:pt>
          <cx:pt idx="139">1.1481949368043847</cx:pt>
          <cx:pt idx="140">1.1597423703527425</cx:pt>
          <cx:pt idx="141">1.1177442722127977</cx:pt>
          <cx:pt idx="142">1.0982214360413136</cx:pt>
          <cx:pt idx="143">1.0325042112439831</cx:pt>
          <cx:pt idx="144">1.0898063357598753</cx:pt>
          <cx:pt idx="145">1.0846103308988317</cx:pt>
          <cx:pt idx="146">1.0794527685683579</cx:pt>
          <cx:pt idx="147">1.1464986436036229</cx:pt>
          <cx:pt idx="148">1.1453901058694613</cx:pt>
          <cx:pt idx="149">1.1783609903827921</cx:pt>
          <cx:pt idx="150">1.1770276031149924</cx:pt>
          <cx:pt idx="151">1.1323144059749903</cx:pt>
          <cx:pt idx="152">1.1138125940317143</cx:pt>
          <cx:pt idx="153">1.1033039335978427</cx:pt>
          <cx:pt idx="154">1.1257293931787815</cx:pt>
          <cx:pt idx="155">1.1387665464491961</cx:pt>
          <cx:pt idx="156">1.1753690795313108</cx:pt>
          <cx:pt idx="157">1.1928738227445719</cx:pt>
          <cx:pt idx="158">1.195996367815537</cx:pt>
          <cx:pt idx="159">1.2113649992014475</cx:pt>
          <cx:pt idx="160">1.2322358383403411</cx:pt>
          <cx:pt idx="161">1.2068829485964674</cx:pt>
          <cx:pt idx="162">1.1752939691747315</cx:pt>
          <cx:pt idx="163">1.1706976139148006</cx:pt>
          <cx:pt idx="164">1.1744472962261456</cx:pt>
          <cx:pt idx="165">1.2012292091450432</cx:pt>
          <cx:pt idx="166">1.2291184882119852</cx:pt>
          <cx:pt idx="167">1.2597815137418042</cx:pt>
          <cx:pt idx="168">1.2361402815614921</cx:pt>
          <cx:pt idx="169">1.2228700596529869</cx:pt>
          <cx:pt idx="170">1.2626690454270155</cx:pt>
          <cx:pt idx="171">1.2864544089226635</cx:pt>
          <cx:pt idx="172">1.2825623714108956</cx:pt>
          <cx:pt idx="173">1.25302000773529</cx:pt>
          <cx:pt idx="174">1.253612757687381</cx:pt>
          <cx:pt idx="175">1.2375685492038391</cx:pt>
          <cx:pt idx="176">1.2420975149154518</cx:pt>
          <cx:pt idx="177">1.2712822246156268</cx:pt>
          <cx:pt idx="178">1.2598990401606986</cx:pt>
          <cx:pt idx="179">1.2431300246010133</cx:pt>
          <cx:pt idx="180">1.2704804780716981</cx:pt>
          <cx:pt idx="181">1.2370388681404971</cx:pt>
          <cx:pt idx="182">1.245377776600985</cx:pt>
          <cx:pt idx="183">1.2716927166542227</cx:pt>
          <cx:pt idx="184">1.3443907362120966</cx:pt>
          <cx:pt idx="185">1.3897641944333694</cx:pt>
          <cx:pt idx="186">1.4445901305080588</cx:pt>
          <cx:pt idx="187">1.4845592372930958</cx:pt>
          <cx:pt idx="188">1.467209332646999</cx:pt>
          <cx:pt idx="189">1.4617609795347262</cx:pt>
          <cx:pt idx="190">1.519313653757717</cx:pt>
          <cx:pt idx="191">1.4768858547487644</cx:pt>
          <cx:pt idx="192">1.4809938540382013</cx:pt>
          <cx:pt idx="193">1.4749842353814009</cx:pt>
          <cx:pt idx="194">1.4888719840692271</cx:pt>
          <cx:pt idx="195">1.525802450607407</cx:pt>
          <cx:pt idx="196">1.4801683281201135</cx:pt>
          <cx:pt idx="197">1.4725985371488399</cx:pt>
          <cx:pt idx="198">1.4558008548672641</cx:pt>
          <cx:pt idx="199">1.4684616337829439</cx:pt>
          <cx:pt idx="200">1.5132750213766761</cx:pt>
          <cx:pt idx="201">1.448787479684416</cx:pt>
          <cx:pt idx="202">1.5026165708988386</cx:pt>
          <cx:pt idx="203">1.5328726283105374</cx:pt>
          <cx:pt idx="204">1.5359552384830932</cx:pt>
          <cx:pt idx="205">1.4603167280547595</cx:pt>
          <cx:pt idx="206">1.4622579387953041</cx:pt>
          <cx:pt idx="207">1.4591250139901009</cx:pt>
          <cx:pt idx="208">1.3884583390004124</cx:pt>
          <cx:pt idx="209">1.3011858941683911</cx:pt>
          <cx:pt idx="210">1.2681728453138383</cx:pt>
          <cx:pt idx="211">1.2678353408912777</cx:pt>
          <cx:pt idx="212">1.2461498555011716</cx:pt>
          <cx:pt idx="213">1.1591075543626848</cx:pt>
          <cx:pt idx="214">1.014536919629011</cx:pt>
          <cx:pt idx="215">1.0307098503938557</cx:pt>
          <cx:pt idx="216">1.0373123874934258</cx:pt>
          <cx:pt idx="217">1.0221624768265842</cx:pt>
          <cx:pt idx="218">1.0382320580928004</cx:pt>
          <cx:pt idx="219">1.0194399685427116</cx:pt>
          <cx:pt idx="220">1.0038871761137258</cx:pt>
          <cx:pt idx="221">1.0128685974493055</cx:pt>
          <cx:pt idx="222">1.0159323277776204</cx:pt>
          <cx:pt idx="223">1.0265175495674155</cx:pt>
          <cx:pt idx="224">1.0532660928585853</cx:pt>
          <cx:pt idx="225">1.0540559655419737</cx:pt>
          <cx:pt idx="226">1.0634369113944315</cx:pt>
          <cx:pt idx="227">1.1756723996921288</cx:pt>
          <cx:pt idx="228">1.2844915315499958</cx:pt>
          <cx:pt idx="229">1.3026293508924363</cx:pt>
          <cx:pt idx="230">1.3577032313860522</cx:pt>
          <cx:pt idx="231">1.3598678778327287</cx:pt>
          <cx:pt idx="232">1.4108517217075511</cx:pt>
          <cx:pt idx="233">1.3610809271761104</cx:pt>
          <cx:pt idx="234">1.3574038313229861</cx:pt>
          <cx:pt idx="235">1.4360590487155638</cx:pt>
          <cx:pt idx="236">1.431802758687434</cx:pt>
          <cx:pt idx="237">1.5000465942584036</cx:pt>
          <cx:pt idx="238">1.5429330398923338</cx:pt>
          <cx:pt idx="239">1.5348565832620307</cx:pt>
          <cx:pt idx="240">1.5849441494857941</cx:pt>
          <cx:pt idx="241">1.5427926780069403</cx:pt>
          <cx:pt idx="242">1.528803383351252</cx:pt>
          <cx:pt idx="243">1.5345644193025088</cx:pt>
          <cx:pt idx="244">1.5359392769135083</cx:pt>
          <cx:pt idx="245">1.5146371154167089</cx:pt>
          <cx:pt idx="246">1.4723665392172056</cx:pt>
          <cx:pt idx="247">1.4821827844269453</cx:pt>
          <cx:pt idx="248">1.4824149144199215</cx:pt>
          <cx:pt idx="249">1.3850857665304199</cx:pt>
          <cx:pt idx="250">1.3857265475252065</cx:pt>
          <cx:pt idx="251">1.3710390063704412</cx:pt>
          <cx:pt idx="252">1.2433096656630571</cx:pt>
          <cx:pt idx="253">1.2815328523346183</cx:pt>
          <cx:pt idx="254">1.1906300852909775</cx:pt>
          <cx:pt idx="255">1.2052605125970925</cx:pt>
          <cx:pt idx="256">1.1591800030926569</cx:pt>
          <cx:pt idx="257">1.1463445409001662</cx:pt>
          <cx:pt idx="258">1.1495081697221923</cx:pt>
          <cx:pt idx="259">1.1324247464849984</cx:pt>
          <cx:pt idx="260">1.1384556602356461</cx:pt>
          <cx:pt idx="261">1.1419226382850798</cx:pt>
          <cx:pt idx="262">1.2041552609498156</cx:pt>
          <cx:pt idx="263">1.2492364119345967</cx:pt>
          <cx:pt idx="264">1.2331540991530878</cx:pt>
          <cx:pt idx="265">1.2322189967347434</cx:pt>
          <cx:pt idx="266">1.2587317392510002</cx:pt>
          <cx:pt idx="267">1.2587215736611488</cx:pt>
          <cx:pt idx="268">1.2560937058394415</cx:pt>
          <cx:pt idx="269">1.2877711845106306</cx:pt>
          <cx:pt idx="270">1.3249331896323093</cx:pt>
          <cx:pt idx="271">1.3120535492612451</cx:pt>
          <cx:pt idx="272">1.3126293894235697</cx:pt>
          <cx:pt idx="273">1.3173026366629419</cx:pt>
          <cx:pt idx="274">1.3662881196169605</cx:pt>
          <cx:pt idx="275">1.3659693474102974</cx:pt>
          <cx:pt idx="276">1.3659693474102976</cx:pt>
          <cx:pt idx="277">1.3344279915065209</cx:pt>
          <cx:pt idx="278">1.3507514435918955</cx:pt>
          <cx:pt idx="279">1.3550250563092199</cx:pt>
          <cx:pt idx="280">1.3682784097001643</cx:pt>
          <cx:pt idx="281">1.3286182490139524</cx:pt>
          <cx:pt idx="282">1.3391882471446352</cx:pt>
          <cx:pt idx="283">1.3232898885097915</cx:pt>
          <cx:pt idx="284">1.3074069386483325</cx:pt>
          <cx:pt idx="285">1.3203115468120239</cx:pt>
          <cx:pt idx="286">1.3018171749478669</cx:pt>
          <cx:pt idx="287">1.3443687410186074</cx:pt>
          <cx:pt idx="288">1.3467929249872446</cx:pt>
          <cx:pt idx="289">1.3581159467185344</cx:pt>
          <cx:pt idx="290">1.358163450027001</cx:pt>
          <cx:pt idx="291">1.3725225971071993</cx:pt>
          <cx:pt idx="292">1.3814236072963633</cx:pt>
          <cx:pt idx="293">1.3598703290490441</cx:pt>
          <cx:pt idx="294">1.3440061283782443</cx:pt>
          <cx:pt idx="295">1.3282468030800869</cx:pt>
          <cx:pt idx="296">1.3512138708328818</cx:pt>
          <cx:pt idx="297">1.3180484922630835</cx:pt>
          <cx:pt idx="298">1.321226946879789</cx:pt>
          <cx:pt idx="299">1.2902117855658048</cx:pt>
          <cx:pt idx="300">1.2956758522016583</cx:pt>
          <cx:pt idx="301">1.2678003981157147</cx:pt>
          <cx:pt idx="302">1.2391818320582435</cx:pt>
          <cx:pt idx="303">1.2616752815717012</cx:pt>
          <cx:pt idx="304">1.2479888336969438</cx:pt>
          <cx:pt idx="305">1.2162138500412902</cx:pt>
          <cx:pt idx="306">1.216820552943003</cx:pt>
          <cx:pt idx="307">1.1770804962378978</cx:pt>
          <cx:pt idx="308">1.2073159602842118</cx:pt>
          <cx:pt idx="309">1.1651433988076085</cx:pt>
          <cx:pt idx="310">1.1910039137553849</cx:pt>
          <cx:pt idx="311">1.1815503757024413</cx:pt>
          <cx:pt idx="312">1.1980454512353886</cx:pt>
          <cx:pt idx="313">1.2183336937174933</cx:pt>
          <cx:pt idx="314">1.22339884387014</cx:pt>
          <cx:pt idx="315">1.2013845954716407</cx:pt>
          <cx:pt idx="316">1.1769511368339056</cx:pt>
          <cx:pt idx="317">1.1623620741394862</cx:pt>
          <cx:pt idx="318">1.0982312269995733</cx:pt>
          <cx:pt idx="319">1.0892709409488981</cx:pt>
          <cx:pt idx="320">1.040243147755183</cx:pt>
          <cx:pt idx="321">1.043077332981905</cx:pt>
          <cx:pt idx="322">1.0258401225284799</cx:pt>
          <cx:pt idx="323">1.0195484980053404</cx:pt>
          <cx:pt idx="324">1.0336818004183532</cx:pt>
          <cx:pt idx="325">1.0246908791676939</cx:pt>
          <cx:pt idx="326">1.0301677491544028</cx:pt>
          <cx:pt idx="327">0.97340197136099027</cx:pt>
          <cx:pt idx="328">1.0185420742361344</cx:pt>
          <cx:pt idx="329">1.045916483435738</cx:pt>
          <cx:pt idx="330">1.086180147041897</cx:pt>
          <cx:pt idx="331">1.044562675379366</cx:pt>
          <cx:pt idx="332">1.0778001290960997</cx:pt>
          <cx:pt idx="333">1.1237674729824372</cx:pt>
          <cx:pt idx="334">1.0904120756042897</cx:pt>
          <cx:pt idx="335">1.1009525689782391</cx:pt>
          <cx:pt idx="336">1.1379487298766833</cx:pt>
          <cx:pt idx="337">1.1678177424452378</cx:pt>
          <cx:pt idx="338">1.1625969262402276</cx:pt>
          <cx:pt idx="339">1.1118015023578449</cx:pt>
          <cx:pt idx="340">1.104313341850603</cx:pt>
          <cx:pt idx="341">1.0542799611863727</cx:pt>
          <cx:pt idx="342">1.0618348898643954</cx:pt>
          <cx:pt idx="343">1.0543085182302678</cx:pt>
          <cx:pt idx="344">1.0151878898080411</cx:pt>
          <cx:pt idx="345">1.0060718886646673</cx:pt>
          <cx:pt idx="346">0.99969920207213125</cx:pt>
          <cx:pt idx="347">1.0303238868569227</cx:pt>
          <cx:pt idx="348">1.022675281398155</cx:pt>
          <cx:pt idx="349">1.0454558094259012</cx:pt>
          <cx:pt idx="350">1.0775291329045658</cx:pt>
          <cx:pt idx="351">1.0730917045861523</cx:pt>
          <cx:pt idx="352">1.0574014608758426</cx:pt>
          <cx:pt idx="353">1.0579179186404992</cx:pt>
          <cx:pt idx="354">1.0693360416129598</cx:pt>
          <cx:pt idx="355">1.0750943944553184</cx:pt>
          <cx:pt idx="356">1.10295361038743</cx:pt>
          <cx:pt idx="357">1.1044924879391342</cx:pt>
          <cx:pt idx="358">1.1165299547190604</cx:pt>
          <cx:pt idx="359">1.1002066277095019</cx:pt>
          <cx:pt idx="360">1.0976719254467515</cx:pt>
          <cx:pt idx="361">1.0976719254467515</cx:pt>
          <cx:pt idx="362">1.0979585161679863</cx:pt>
          <cx:pt idx="363">1.0631335302894962</cx:pt>
          <cx:pt idx="364">1.0378658831457224</cx:pt>
          <cx:pt idx="365">1.0236397215670625</cx:pt>
          <cx:pt idx="366">0.98874287512895898</cx:pt>
          <cx:pt idx="367">0.97590024609207948</cx:pt>
          <cx:pt idx="368">0.95468094090367805</cx:pt>
          <cx:pt idx="369">1.0189062235913169</cx:pt>
          <cx:pt idx="370">1.0288985654886085</cx:pt>
          <cx:pt idx="371">1.0895918146630166</cx:pt>
          <cx:pt idx="372">1.1162449532691847</cx:pt>
          <cx:pt idx="373">1.1089496144152935</cx:pt>
          <cx:pt idx="374">1.1081028056804973</cx:pt>
          <cx:pt idx="375">1.1509834037460855</cx:pt>
          <cx:pt idx="376">1.1506754444649558</cx:pt>
          <cx:pt idx="377">1.163995806074549</cx:pt>
          <cx:pt idx="378">1.1506396538027122</cx:pt>
          <cx:pt idx="379">1.1407799633282407</cx:pt>
          <cx:pt idx="380">1.119367332829778</cx:pt>
          <cx:pt idx="381">1.0901733116630425</cx:pt>
          <cx:pt idx="382">1.0895651692599739</cx:pt>
          <cx:pt idx="383">1.1206438241676795</cx:pt>
          <cx:pt idx="384">1.1159448477527041</cx:pt>
          <cx:pt idx="385">1.1618309613690359</cx:pt>
          <cx:pt idx="386">1.134623996266263</cx:pt>
          <cx:pt idx="387">1.1201871003475024</cx:pt>
          <cx:pt idx="388">1.1183472828961891</cx:pt>
          <cx:pt idx="389">1.0972969721826855</cx:pt>
          <cx:pt idx="390">1.1388485035238418</cx:pt>
          <cx:pt idx="391">1.1674730546497991</cx:pt>
          <cx:pt idx="392">1.1826478402206186</cx:pt>
          <cx:pt idx="393">1.1709952572376703</cx:pt>
          <cx:pt idx="394">1.2055282159990663</cx:pt>
          <cx:pt idx="395">1.203654649859764</cx:pt>
          <cx:pt idx="396">1.2041923184379417</cx:pt>
          <cx:pt idx="397">1.2017474731603603</cx:pt>
          <cx:pt idx="398">1.2097645732044906</cx:pt>
          <cx:pt idx="399">1.2508389442754517</cx:pt>
          <cx:pt idx="400">1.215587560926636</cx:pt>
          <cx:pt idx="401">1.2299914327877171</cx:pt>
          <cx:pt idx="402">1.2125124542093997</cx:pt>
          <cx:pt idx="403">1.2042058910157298</cx:pt>
          <cx:pt idx="404">1.2000831512409766</cx:pt>
          <cx:pt idx="405">1.1993024854526491</cx:pt>
          <cx:pt idx="406">1.1635575776725184</cx:pt>
          <cx:pt idx="407">1.1936727456283456</cx:pt>
          <cx:pt idx="408">1.1846896059160774</cx:pt>
          <cx:pt idx="409">1.1860668714941471</cx:pt>
          <cx:pt idx="410">1.2135385918785169</cx:pt>
          <cx:pt idx="411">1.2081565981243481</cx:pt>
          <cx:pt idx="412">1.2228475493831019</cx:pt>
          <cx:pt idx="413">1.2231829622504493</cx:pt>
          <cx:pt idx="414">1.2249510852643555</cx:pt>
          <cx:pt idx="415">1.2631585262213099</cx:pt>
          <cx:pt idx="416">1.2123678067833754</cx:pt>
          <cx:pt idx="417">1.2215723166195209</cx:pt>
          <cx:pt idx="418">1.2048285471207054</cx:pt>
          <cx:pt idx="419">1.1970029778710907</cx:pt>
          <cx:pt idx="420">1.1881573336315212</cx:pt>
          <cx:pt idx="421">1.1732152311040902</cx:pt>
          <cx:pt idx="422">1.1552025377507642</cx:pt>
          <cx:pt idx="423">1.1350005447395786</cx:pt>
          <cx:pt idx="424">1.1388681421311646</cx:pt>
          <cx:pt idx="425">1.0846425505048158</cx:pt>
          <cx:pt idx="426">1.1327357690920887</cx:pt>
          <cx:pt idx="427">1.1418021974337402</cx:pt>
          <cx:pt idx="428">1.1775761509973999</cx:pt>
          <cx:pt idx="429">1.1937076063518934</cx:pt>
          <cx:pt idx="430">1.1616502906853954</cx:pt>
          <cx:pt idx="431">1.1618576153210733</cx:pt>
          <cx:pt idx="432">1.1615664247643294</cx:pt>
          <cx:pt idx="433">1.1397273773247956</cx:pt>
          <cx:pt idx="434">1.1598448172061644</cx:pt>
          <cx:pt idx="435">1.1678571499034658</cx:pt>
          <cx:pt idx="436">1.2174600741946588</cx:pt>
          <cx:pt idx="437">1.2440682483093979</cx:pt>
          <cx:pt idx="438">1.2342088145242942</cx:pt>
          <cx:pt idx="439">1.2333201103621301</cx:pt>
          <cx:pt idx="440">1.2417779483942695</cx:pt>
          <cx:pt idx="441">1.2544713147656641</cx:pt>
          <cx:pt idx="442">1.2648978878418082</cx:pt>
          <cx:pt idx="443">1.2471563353209507</cx:pt>
          <cx:pt idx="444">1.2517420978659677</cx:pt>
          <cx:pt idx="445">1.2256585677631366</cx:pt>
          <cx:pt idx="446">1.1995602240749719</cx:pt>
          <cx:pt idx="447">1.2045582780261366</cx:pt>
          <cx:pt idx="448">1.1926405149287287</cx:pt>
          <cx:pt idx="449">1.1922693640948514</cx:pt>
          <cx:pt idx="450">1.2002652036694998</cx:pt>
          <cx:pt idx="451">1.1935030215150662</cx:pt>
          <cx:pt idx="452">1.171946730779581</cx:pt>
          <cx:pt idx="453">1.1243956560738977</cx:pt>
          <cx:pt idx="454">1.1140283388607974</cx:pt>
          <cx:pt idx="455">1.0918027904953047</cx:pt>
          <cx:pt idx="456">1.0763893247773431</cx:pt>
          <cx:pt idx="457">1.0654933735280847</cx:pt>
          <cx:pt idx="458">1.0283698343149863</cx:pt>
          <cx:pt idx="459">1.0169824646144756</cx:pt>
          <cx:pt idx="460">1.0389922743873312</cx:pt>
          <cx:pt idx="461">1.0555767928442716</cx:pt>
          <cx:pt idx="462">1.0734185166224577</cx:pt>
          <cx:pt idx="463">1.0845843562427275</cx:pt>
          <cx:pt idx="464">1.0725478659394099</cx:pt>
          <cx:pt idx="465">1.0105302557813209</cx:pt>
          <cx:pt idx="466">1.0147046818645558</cx:pt>
          <cx:pt idx="467">0.9729095041296526</cx:pt>
          <cx:pt idx="468">0.95481192203051846</cx:pt>
          <cx:pt idx="469">0.9341784959875663</cx:pt>
          <cx:pt idx="470">0.92854539961155647</cx:pt>
          <cx:pt idx="471">0.90621082785195661</cx:pt>
          <cx:pt idx="472">0.89884681197512684</cx:pt>
          <cx:pt idx="473">0.8998162297446225</cx:pt>
          <cx:pt idx="474">0.94494922205273213</cx:pt>
          <cx:pt idx="475">0.99462815227114987</cx:pt>
          <cx:pt idx="476">0.99495652901202414</cx:pt>
          <cx:pt idx="477">1.0219616389071795</cx:pt>
          <cx:pt idx="478">1.0206213582858465</cx:pt>
          <cx:pt idx="479">1.0489073680104766</cx:pt>
          <cx:pt idx="480">1.0800699897671902</cx:pt>
          <cx:pt idx="481">1.1390659255704638</cx:pt>
          <cx:pt idx="482">1.1753766726376034</cx:pt>
          <cx:pt idx="483">1.1811652711832756</cx:pt>
          <cx:pt idx="484">1.1841323669107224</cx:pt>
          <cx:pt idx="485">1.1755409644669059</cx:pt>
          <cx:pt idx="486">1.171101585999772</cx:pt>
          <cx:pt idx="487">1.1822854666835678</cx:pt>
          <cx:pt idx="488">1.2036724271278945</cx:pt>
          <cx:pt idx="489">1.1770411235176161</cx:pt>
          <cx:pt idx="490">1.2035931867287153</cx:pt>
          <cx:pt idx="491">1.1934084195756194</cx:pt>
          <cx:pt idx="492">1.1598372151260699</cx:pt>
          <cx:pt idx="493">1.1381497907729714</cx:pt>
          <cx:pt idx="494">1.1287674313065972</cx:pt>
          <cx:pt idx="495">1.1670668130987869</cx:pt>
          <cx:pt idx="496">1.1661071161997134</cx:pt>
          <cx:pt idx="497">1.1550883222758612</cx:pt>
          <cx:pt idx="498">1.1621527114502561</cx:pt>
          <cx:pt idx="499">1.1513378846937952</cx:pt>
          <cx:pt idx="500">1.1197639920311164</cx:pt>
          <cx:pt idx="501">1.1540928570009628</cx:pt>
          <cx:pt idx="502">1.1454521575174104</cx:pt>
          <cx:pt idx="503">1.1384026726783849</cx:pt>
          <cx:pt idx="504">1.1141208019287328</cx:pt>
          <cx:pt idx="505">1.0490674814544396</cx:pt>
          <cx:pt idx="506">1.0428372175778882</cx:pt>
          <cx:pt idx="507">1.049852524205493</cx:pt>
          <cx:pt idx="508">1.1093191751060938</cx:pt>
          <cx:pt idx="509">1.1709222539226007</cx:pt>
          <cx:pt idx="510">1.1173509378344704</cx:pt>
          <cx:pt idx="511">1.1128305477281746</cx:pt>
          <cx:pt idx="512">1.1592799025572378</cx:pt>
          <cx:pt idx="513">1.1727719209183958</cx:pt>
          <cx:pt idx="514">1.1960456351203004</cx:pt>
          <cx:pt idx="515">1.2454877698902695</cx:pt>
          <cx:pt idx="516">1.2459958231863582</cx:pt>
          <cx:pt idx="517">1.2640726976508263</cx:pt>
          <cx:pt idx="518">1.2640726976508263</cx:pt>
          <cx:pt idx="519">1.2403031193853338</cx:pt>
          <cx:pt idx="520">1.2527502647401243</cx:pt>
          <cx:pt idx="521">1.2381297029351663</cx:pt>
          <cx:pt idx="522">1.2333604763069594</cx:pt>
          <cx:pt idx="523">1.2345551634547984</cx:pt>
          <cx:pt idx="524">1.2301527136598656</cx:pt>
          <cx:pt idx="525">1.2596070389105953</cx:pt>
          <cx:pt idx="526">1.2415924564674954</cx:pt>
          <cx:pt idx="527">1.2742694301619109</cx:pt>
          <cx:pt idx="528">1.2774680939979659</cx:pt>
          <cx:pt idx="529">1.2593772996190216</cx:pt>
          <cx:pt idx="530">1.2994188941082823</cx:pt>
          <cx:pt idx="531">1.3024664773924826</cx:pt>
          <cx:pt idx="532">1.2992613286017558</cx:pt>
          <cx:pt idx="533">1.359066093006992</cx:pt>
          <cx:pt idx="534">1.383191261003383</cx:pt>
          <cx:pt idx="535">1.376186408978836</cx:pt>
          <cx:pt idx="536">1.3423647886496619</cx:pt>
          <cx:pt idx="537">1.3449009237202776</cx:pt>
          <cx:pt idx="538">1.3253822333636924</cx:pt>
          <cx:pt idx="539">1.324585956814146</cx:pt>
          <cx:pt idx="540">1.2913454682150587</cx:pt>
          <cx:pt idx="541">1.2819070974339806</cx:pt>
          <cx:pt idx="542">1.3030501026025334</cx:pt>
          <cx:pt idx="543">1.265218158756549</cx:pt>
          <cx:pt idx="544">1.2847423071180173</cx:pt>
          <cx:pt idx="545">1.3039411722333039</cx:pt>
          <cx:pt idx="546">1.2768024577549315</cx:pt>
          <cx:pt idx="547">1.2789896886433116</cx:pt>
          <cx:pt idx="548">1.275458087642763</cx:pt>
          <cx:pt idx="549">1.2481836265515576</cx:pt>
          <cx:pt idx="550">1.2492717018111941</cx:pt>
          <cx:pt idx="551">1.2503990760802592</cx:pt>
          <cx:pt idx="552">1.2314124244702853</cx:pt>
          <cx:pt idx="553">1.2369068253606077</cx:pt>
          <cx:pt idx="554">1.239053922820115</cx:pt>
          <cx:pt idx="555">1.2552513349837535</cx:pt>
          <cx:pt idx="556">1.2089333252691141</cx:pt>
          <cx:pt idx="557">1.1988115082272384</cx:pt>
          <cx:pt idx="558">1.1392892521216906</cx:pt>
          <cx:pt idx="559">1.1248305009706929</cx:pt>
          <cx:pt idx="560">1.1399527437856873</cx:pt>
          <cx:pt idx="561">1.1186569328142271</cx:pt>
          <cx:pt idx="562">1.0546589929440937</cx:pt>
          <cx:pt idx="563">0.98968290783690738</cx:pt>
          <cx:pt idx="564">0.95064381127422237</cx:pt>
          <cx:pt idx="565">0.94939879108630088</cx:pt>
          <cx:pt idx="566">1.0045792999522107</cx:pt>
          <cx:pt idx="567">1.0568155656428171</cx:pt>
          <cx:pt idx="568">1.1033324887109786</cx:pt>
          <cx:pt idx="569">1.1331463476362136</cx:pt>
          <cx:pt idx="570">1.097827767207413</cx:pt>
          <cx:pt idx="571">1.1300824977022268</cx:pt>
          <cx:pt idx="572">1.1251787910496525</cx:pt>
          <cx:pt idx="573">1.1293100948466637</cx:pt>
          <cx:pt idx="574">1.1620017026619398</cx:pt>
          <cx:pt idx="575">1.192109271891227</cx:pt>
          <cx:pt idx="576">1.2230690289032606</cx:pt>
          <cx:pt idx="577">1.2326603801953013</cx:pt>
          <cx:pt idx="578">1.2226254141092461</cx:pt>
          <cx:pt idx="579">1.2598317006562796</cx:pt>
          <cx:pt idx="580">1.3032214840767238</cx:pt>
          <cx:pt idx="581">1.2938102435197201</cx:pt>
          <cx:pt idx="582">1.246914816312559</cx:pt>
          <cx:pt idx="583">1.2496292783595184</cx:pt>
          <cx:pt idx="584">1.2352666335305815</cx:pt>
          <cx:pt idx="585">1.2482332460558554</cx:pt>
          <cx:pt idx="586">1.1728305068719267</cx:pt>
          <cx:pt idx="587">1.1502688792728657</cx:pt>
          <cx:pt idx="588">1.1412747070662899</cx:pt>
          <cx:pt idx="589">1.1271509425590818</cx:pt>
          <cx:pt idx="590">1.0150415002904203</cx:pt>
          <cx:pt idx="591">1.0353853368185797</cx:pt>
          <cx:pt idx="592">1.0556622545582106</cx:pt>
          <cx:pt idx="593">1.0103807437356607</cx:pt>
          <cx:pt idx="594">0.99767008143867286</cx:pt>
          <cx:pt idx="595">0.92330518958699603</cx:pt>
          <cx:pt idx="596">0.92108538125946371</cx:pt>
          <cx:pt idx="597">0.92094061312509456</cx:pt>
          <cx:pt idx="598">0.92068371041506702</cx:pt>
          <cx:pt idx="599">0.92489906453076909</cx:pt>
          <cx:pt idx="600">0.96078126811532361</cx:pt>
          <cx:pt idx="601">0.95751930832043819</cx:pt>
          <cx:pt idx="602">0.81406942717317665</cx:pt>
          <cx:pt idx="603">0.75183817750982174</cx:pt>
          <cx:pt idx="604">0.80451949193492234</cx:pt>
          <cx:pt idx="605">0.8046654283693957</cx:pt>
          <cx:pt idx="606">0.79058981657020866</cx:pt>
          <cx:pt idx="607">0.76073210352484344</cx:pt>
          <cx:pt idx="608">0.80064718445673355</cx:pt>
          <cx:pt idx="609">0.80891923118482312</cx:pt>
          <cx:pt idx="610">0.81335505876148795</cx:pt>
          <cx:pt idx="611">0.81267208268679625</cx:pt>
          <cx:pt idx="612">0.83164805935182495</cx:pt>
          <cx:pt idx="613">0.8598485738154561</cx:pt>
          <cx:pt idx="614">0.87089176888881004</cx:pt>
          <cx:pt idx="615">0.86416334079263823</cx:pt>
          <cx:pt idx="616">1.0077780306891917</cx:pt>
          <cx:pt idx="617">1.155824985821583</cx:pt>
          <cx:pt idx="618">1.168377332627542</cx:pt>
          <cx:pt idx="619">1.1571991585172876</cx:pt>
          <cx:pt idx="620">1.2080694632168256</cx:pt>
          <cx:pt idx="621">1.2347546010164052</cx:pt>
          <cx:pt idx="622">1.3192648653497279</cx:pt>
          <cx:pt idx="623">1.2835604044329025</cx:pt>
          <cx:pt idx="624">1.2879644688881284</cx:pt>
          <cx:pt idx="625">1.2940198266749843</cx:pt>
          <cx:pt idx="626">1.3691493316921708</cx:pt>
          <cx:pt idx="627">1.3707486377731652</cx:pt>
          <cx:pt idx="628">1.364416532118502</cx:pt>
          <cx:pt idx="629">1.3796182267616297</cx:pt>
          <cx:pt idx="630">1.3871669899707517</cx:pt>
          <cx:pt idx="631">1.3658130037784535</cx:pt>
          <cx:pt idx="632">1.3316849218876048</cx:pt>
          <cx:pt idx="633">1.2565115559844966</cx:pt>
          <cx:pt idx="634">1.3105632869237023</cx:pt>
          <cx:pt idx="635">1.3187283708668109</cx:pt>
          <cx:pt idx="636">1.3245325407904869</cx:pt>
          <cx:pt idx="637">1.3484576613732182</cx:pt>
          <cx:pt idx="638">1.3683882678585428</cx:pt>
          <cx:pt idx="639">1.420742044492683</cx:pt>
          <cx:pt idx="640">1.3780019039579838</cx:pt>
          <cx:pt idx="641">1.3953553522811977</cx:pt>
          <cx:pt idx="642">1.34512636812924</cx:pt>
          <cx:pt idx="643">1.2713052305592516</cx:pt>
          <cx:pt idx="644">1.3078857600304095</cx:pt>
          <cx:pt idx="645">1.3159249578238326</cx:pt>
          <cx:pt idx="646">1.3367796321556653</cx:pt>
          <cx:pt idx="647">1.3308345671650137</cx:pt>
          <cx:pt idx="648">1.2974999948204775</cx:pt>
          <cx:pt idx="649">1.3000383782589788</cx:pt>
          <cx:pt idx="650">1.3138029835442948</cx:pt>
          <cx:pt idx="651">1.3242024988892427</cx:pt>
          <cx:pt idx="652">1.3292673218368172</cx:pt>
          <cx:pt idx="653">1.2835619123344608</cx:pt>
          <cx:pt idx="654">1.2914587900709846</cx:pt>
          <cx:pt idx="655">1.2919847197738177</cx:pt>
          <cx:pt idx="656">1.3346929089833064</cx:pt>
          <cx:pt idx="657">1.2980218199865863</cx:pt>
          <cx:pt idx="658">1.280346223336837</cx:pt>
          <cx:pt idx="659">1.278242829505722</cx:pt>
          <cx:pt idx="660">1.2428223170783328</cx:pt>
          <cx:pt idx="661">1.2737319648495786</cx:pt>
          <cx:pt idx="662">1.3056766053849096</cx:pt>
          <cx:pt idx="663">1.3408275409699992</cx:pt>
          <cx:pt idx="664">1.334700320759892</cx:pt>
          <cx:pt idx="665">1.314757101733677</cx:pt>
          <cx:pt idx="666">1.2948730165665889</cx:pt>
          <cx:pt idx="667">1.3183473688471621</cx:pt>
          <cx:pt idx="668">1.284733937561618</cx:pt>
          <cx:pt idx="669">1.2850665017727658</cx:pt>
          <cx:pt idx="670">1.2412919908110307</cx:pt>
          <cx:pt idx="671">1.1968167456133978</cx:pt>
          <cx:pt idx="672">1.1894297901963153</cx:pt>
          <cx:pt idx="673">1.1751436425582877</cx:pt>
          <cx:pt idx="674">1.1306322334480952</cx:pt>
          <cx:pt idx="675">1.1185427347501595</cx:pt>
          <cx:pt idx="676">1.0882251506442149</cx:pt>
          <cx:pt idx="677">1.0527596096445404</cx:pt>
          <cx:pt idx="678">1.0643111760993087</cx:pt>
          <cx:pt idx="679">1.0587866864065814</cx:pt>
          <cx:pt idx="680">1.0854294031613998</cx:pt>
          <cx:pt idx="681">1.0480899165235209</cx:pt>
          <cx:pt idx="682">1.0269741544841795</cx:pt>
          <cx:pt idx="683">1.0262511378066594</cx:pt>
          <cx:pt idx="684">1.0246782867797339</cx:pt>
          <cx:pt idx="685">1.0385463372539798</cx:pt>
          <cx:pt idx="686">1.0940603077478173</cx:pt>
          <cx:pt idx="687">1.0480565732083182</cx:pt>
          <cx:pt idx="688">1.0469978587031752</cx:pt>
          <cx:pt idx="689">1.0432941007430088</cx:pt>
          <cx:pt idx="690">1.0462963868007285</cx:pt>
          <cx:pt idx="691">1.0765155857913133</cx:pt>
          <cx:pt idx="692">1.0927391842206375</cx:pt>
          <cx:pt idx="693">1.0629995094021676</cx:pt>
          <cx:pt idx="694">1.0512040203847777</cx:pt>
          <cx:pt idx="695">1.0927120251431641</cx:pt>
          <cx:pt idx="696">1.0896538860564171</cx:pt>
          <cx:pt idx="697">1.1546195202572755</cx:pt>
          <cx:pt idx="698">1.1595499683205808</cx:pt>
          <cx:pt idx="699">1.1573157671725716</cx:pt>
          <cx:pt idx="700">1.1783315158690801</cx:pt>
          <cx:pt idx="701">1.1808485194157856</cx:pt>
          <cx:pt idx="702">1.2473182415482131</cx:pt>
          <cx:pt idx="703">1.2628550176876701</cx:pt>
          <cx:pt idx="704">1.261233224789067</cx:pt>
          <cx:pt idx="705">1.2578915624153379</cx:pt>
          <cx:pt idx="706">1.2625719611132067</cx:pt>
          <cx:pt idx="707">1.265348691795253</cx:pt>
          <cx:pt idx="708">1.2746505319085011</cx:pt>
          <cx:pt idx="709">1.2639461163143932</cx:pt>
          <cx:pt idx="710">1.2635877407187142</cx:pt>
          <cx:pt idx="711">1.250543193804154</cx:pt>
          <cx:pt idx="712">1.2668342560327557</cx:pt>
          <cx:pt idx="713">1.2930789296402485</cx:pt>
          <cx:pt idx="714">1.2933790868749939</cx:pt>
          <cx:pt idx="715">1.2987525031799285</cx:pt>
          <cx:pt idx="716">1.2769217859022648</cx:pt>
          <cx:pt idx="717">1.2185392277076541</cx:pt>
          <cx:pt idx="718">1.2658665271331451</cx:pt>
          <cx:pt idx="719">1.2633905567656949</cx:pt>
          <cx:pt idx="720">1.2754994804903621</cx:pt>
          <cx:pt idx="721">1.2759435050020786</cx:pt>
          <cx:pt idx="722">1.2404105286435991</cx:pt>
          <cx:pt idx="723">1.2096258196880203</cx:pt>
          <cx:pt idx="724">1.1991354412457393</cx:pt>
          <cx:pt idx="725">1.1655127626928847</cx:pt>
          <cx:pt idx="726">1.1651443216711743</cx:pt>
          <cx:pt idx="727">1.1317756531363705</cx:pt>
          <cx:pt idx="728">1.117099546973976</cx:pt>
          <cx:pt idx="729">1.0982496337647996</cx:pt>
          <cx:pt idx="730">1.1233179540123319</cx:pt>
          <cx:pt idx="731">1.0782868730746753</cx:pt>
          <cx:pt idx="732">1.0427615321362913</cx:pt>
          <cx:pt idx="733">0.97485372489734901</cx:pt>
          <cx:pt idx="734">0.95478083957152338</cx:pt>
          <cx:pt idx="735">0.96319160322135722</cx:pt>
          <cx:pt idx="736">0.96985832021503127</cx:pt>
          <cx:pt idx="737">0.9923096767761842</cx:pt>
          <cx:pt idx="738">0.97197625972158652</cx:pt>
          <cx:pt idx="739">0.95355373796278264</cx:pt>
          <cx:pt idx="740">0.95992618443810152</cx:pt>
          <cx:pt idx="741">0.98149052767409739</cx:pt>
          <cx:pt idx="742">0.97087312438645335</cx:pt>
          <cx:pt idx="743">0.92798776410175787</cx:pt>
          <cx:pt idx="744">0.9281620177440979</cx:pt>
          <cx:pt idx="745">0.9412268360970415</cx:pt>
          <cx:pt idx="746">0.98034139324616276</cx:pt>
          <cx:pt idx="747">0.97973707247546526</cx:pt>
          <cx:pt idx="748">0.99239733631155991</cx:pt>
          <cx:pt idx="749">0.95062356445141971</cx:pt>
          <cx:pt idx="750">0.96249317830287484</cx:pt>
          <cx:pt idx="751">0.99366909963523187</cx:pt>
          <cx:pt idx="752">0.99759269383636684</cx:pt>
          <cx:pt idx="753">1.0255009790656056</cx:pt>
          <cx:pt idx="754">1.0072647941784711</cx:pt>
          <cx:pt idx="755">1.0161597537598552</cx:pt>
          <cx:pt idx="756">1.0482803121795363</cx:pt>
          <cx:pt idx="757">1.0216267862201833</cx:pt>
          <cx:pt idx="758">1.0234170047401976</cx:pt>
          <cx:pt idx="759">1.0441384780240226</cx:pt>
          <cx:pt idx="760">1.0364751059052457</cx:pt>
          <cx:pt idx="761">1.0692243193835846</cx:pt>
          <cx:pt idx="762">1.0873781231916058</cx:pt>
          <cx:pt idx="763">1.0865790254254974</cx:pt>
          <cx:pt idx="764">1.0878645353681808</cx:pt>
          <cx:pt idx="765">1.0796448041952531</cx:pt>
          <cx:pt idx="766">1.0950633113724426</cx:pt>
          <cx:pt idx="767">1.1041614343556292</cx:pt>
          <cx:pt idx="768">1.0963719249640895</cx:pt>
          <cx:pt idx="769">1.0997520737220343</cx:pt>
          <cx:pt idx="770">1.1051258868592537</cx:pt>
          <cx:pt idx="771">1.1157500009034862</cx:pt>
          <cx:pt idx="772">1.13848248365594</cx:pt>
          <cx:pt idx="773">1.1684311694958596</cx:pt>
          <cx:pt idx="774">1.1687719867404625</cx:pt>
          <cx:pt idx="775">1.1578830330735355</cx:pt>
          <cx:pt idx="776">1.147220390184865</cx:pt>
          <cx:pt idx="777">1.1135348153274045</cx:pt>
          <cx:pt idx="778">1.1303478387466133</cx:pt>
          <cx:pt idx="779">1.1433135206283589</cx:pt>
          <cx:pt idx="780">1.1525089974691354</cx:pt>
          <cx:pt idx="781">1.1405910559833647</cx:pt>
          <cx:pt idx="782">1.1521875407381637</cx:pt>
          <cx:pt idx="783">1.1448475505404612</cx:pt>
          <cx:pt idx="784">1.1186776948461232</cx:pt>
          <cx:pt idx="785">1.1682287852230211</cx:pt>
          <cx:pt idx="786">1.166155617716256</cx:pt>
          <cx:pt idx="787">1.137693478759944</cx:pt>
          <cx:pt idx="788">1.1648774913665696</cx:pt>
          <cx:pt idx="789">1.1748757884472592</cx:pt>
          <cx:pt idx="790">1.142061991048581</cx:pt>
          <cx:pt idx="791">1.1362455625852288</cx:pt>
          <cx:pt idx="792">1.1160202911786956</cx:pt>
          <cx:pt idx="793">1.1083932961384828</cx:pt>
          <cx:pt idx="794">1.1161457298769637</cx:pt>
          <cx:pt idx="795">1.1417523788561403</cx:pt>
          <cx:pt idx="796">1.140464723236206</cx:pt>
          <cx:pt idx="797">1.1345306452212898</cx:pt>
          <cx:pt idx="798">1.1291127928266205</cx:pt>
          <cx:pt idx="799">1.1128268759847502</cx:pt>
          <cx:pt idx="800">1.1133485286452571</cx:pt>
          <cx:pt idx="801">1.0990964030629007</cx:pt>
          <cx:pt idx="802">1.0772941012765085</cx:pt>
          <cx:pt idx="803">1.0326970639090882</cx:pt>
          <cx:pt idx="804">1.0233008996296229</cx:pt>
          <cx:pt idx="805">1.0370872154612254</cx:pt>
          <cx:pt idx="806">1.0578681138197519</cx:pt>
          <cx:pt idx="807">1.1053822381751564</cx:pt>
          <cx:pt idx="808">1.1316079529323679</cx:pt>
          <cx:pt idx="809">1.1455810377177575</cx:pt>
          <cx:pt idx="810">1.1261863517751982</cx:pt>
          <cx:pt idx="811">1.1636944320494083</cx:pt>
          <cx:pt idx="812">1.1621558572580266</cx:pt>
          <cx:pt idx="813">1.1352884148736107</cx:pt>
          <cx:pt idx="814">1.1319442784264451</cx:pt>
          <cx:pt idx="815">1.1298157619337668</cx:pt>
          <cx:pt idx="816">1.0698615124930786</cx:pt>
          <cx:pt idx="817">1.0541535869816292</cx:pt>
          <cx:pt idx="818">1.0739170589307001</cx:pt>
          <cx:pt idx="819">1.0357380621244603</cx:pt>
          <cx:pt idx="820">1.0256372789427015</cx:pt>
          <cx:pt idx="821">1.0297523452137012</cx:pt>
          <cx:pt idx="822">1.0321064169522338</cx:pt>
          <cx:pt idx="823">1.0442060316619222</cx:pt>
          <cx:pt idx="824">1.0502320276148298</cx:pt>
          <cx:pt idx="825">1.0797115305706939</cx:pt>
          <cx:pt idx="826">1.0840927032534213</cx:pt>
          <cx:pt idx="827">1.1156607570095767</cx:pt>
          <cx:pt idx="828">1.1069460069784751</cx:pt>
          <cx:pt idx="829">1.0992450977585644</cx:pt>
          <cx:pt idx="830">1.1199627489964941</cx:pt>
          <cx:pt idx="831">1.1550237161834536</cx:pt>
          <cx:pt idx="832">1.1723752197628443</cx:pt>
          <cx:pt idx="833">1.1986853013251233</cx:pt>
          <cx:pt idx="834">1.1979950993491226</cx:pt>
          <cx:pt idx="835">1.2234280236418718</cx:pt>
          <cx:pt idx="836">1.2434425850700099</cx:pt>
          <cx:pt idx="837">1.262883966949653</cx:pt>
          <cx:pt idx="838">1.200896887052894</cx:pt>
          <cx:pt idx="839">1.2073157821586946</cx:pt>
          <cx:pt idx="840">1.152223563283161</cx:pt>
          <cx:pt idx="841">1.1405606054145716</cx:pt>
          <cx:pt idx="842">1.1202594745515786</cx:pt>
          <cx:pt idx="843">1.14774186899732</cx:pt>
          <cx:pt idx="844">1.1474499075439324</cx:pt>
          <cx:pt idx="845">1.134716865826624</cx:pt>
          <cx:pt idx="846">1.1523580312811044</cx:pt>
          <cx:pt idx="847">1.1542439689185926</cx:pt>
          <cx:pt idx="848">1.1264891697048685</cx:pt>
          <cx:pt idx="849">1.128955078775268</cx:pt>
          <cx:pt idx="850">1.1324499086930615</cx:pt>
          <cx:pt idx="851">1.157249148367735</cx:pt>
          <cx:pt idx="852">1.1743131600426953</cx:pt>
          <cx:pt idx="853">1.1844061167785165</cx:pt>
          <cx:pt idx="854">1.1570952693558081</cx:pt>
          <cx:pt idx="855">1.1549596650779577</cx:pt>
          <cx:pt idx="856">1.1588801602436944</cx:pt>
          <cx:pt idx="857">1.1159415716774101</cx:pt>
          <cx:pt idx="858">1.0784985580819961</cx:pt>
          <cx:pt idx="859">1.0670419366752435</cx:pt>
          <cx:pt idx="860">1.0764352759110998</cx:pt>
          <cx:pt idx="861">1.0640175437150141</cx:pt>
          <cx:pt idx="862">1.0729084178615984</cx:pt>
          <cx:pt idx="863">1.0445292194680718</cx:pt>
          <cx:pt idx="864">1.0487823969389605</cx:pt>
          <cx:pt idx="865">1.0815896306049988</cx:pt>
          <cx:pt idx="866">1.0306903417831956</cx:pt>
          <cx:pt idx="867">0.97595456442805606</cx:pt>
          <cx:pt idx="868">0.95337250840631327</cx:pt>
          <cx:pt idx="869">0.96820085892639329</cx:pt>
          <cx:pt idx="870">0.99892512124255906</cx:pt>
          <cx:pt idx="871">1.0104325699890233</cx:pt>
          <cx:pt idx="872">0.99727575160092108</cx:pt>
          <cx:pt idx="873">0.9939910862627952</cx:pt>
          <cx:pt idx="874">1.0169705169069869</cx:pt>
          <cx:pt idx="875">1.0062456571735574</cx:pt>
          <cx:pt idx="876">1.0553841475617924</cx:pt>
          <cx:pt idx="877">1.0542469156415801</cx:pt>
          <cx:pt idx="878">1.0759506923986426</cx:pt>
          <cx:pt idx="879">1.0746241153293146</cx:pt>
          <cx:pt idx="880">1.1117157136413021</cx:pt>
          <cx:pt idx="881">1.1142444279247217</cx:pt>
          <cx:pt idx="882">1.0983771019392736</cx:pt>
          <cx:pt idx="883">1.0885681628457131</cx:pt>
          <cx:pt idx="884">1.0942126348761383</cx:pt>
          <cx:pt idx="885">1.0837857781421691</cx:pt>
          <cx:pt idx="886">1.0989448507301161</cx:pt>
          <cx:pt idx="887">1.0794991869490482</cx:pt>
          <cx:pt idx="888">1.0986063507819785</cx:pt>
          <cx:pt idx="889">1.0989260642207268</cx:pt>
          <cx:pt idx="890">1.1259317766149948</cx:pt>
          <cx:pt idx="891">1.1015628194348661</cx:pt>
          <cx:pt idx="892">1.108862538384384</cx:pt>
          <cx:pt idx="893">1.1236498708485956</cx:pt>
          <cx:pt idx="894">1.1234287952801092</cx:pt>
          <cx:pt idx="895">1.0796214987879609</cx:pt>
          <cx:pt idx="896">1.0627878737152257</cx:pt>
          <cx:pt idx="897">1.0940864505560444</cx:pt>
          <cx:pt idx="898">1.0949853438406416</cx:pt>
          <cx:pt idx="899">1.1167548031338763</cx:pt>
          <cx:pt idx="900">1.1218984486272634</cx:pt>
          <cx:pt idx="901">1.0851965780001467</cx:pt>
          <cx:pt idx="902">1.0767507873526347</cx:pt>
          <cx:pt idx="903">1.0923375349783524</cx:pt>
          <cx:pt idx="904">1.1174789214052088</cx:pt>
          <cx:pt idx="905">1.071021219030186</cx:pt>
          <cx:pt idx="906">1.0783284555572659</cx:pt>
          <cx:pt idx="907">1.054638907781452</cx:pt>
          <cx:pt idx="908">1.0502362253475452</cx:pt>
          <cx:pt idx="909">1.0854046369011203</cx:pt>
          <cx:pt idx="910">1.0623352244147133</cx:pt>
          <cx:pt idx="911">1.0441930567595954</cx:pt>
          <cx:pt idx="912">1.0542098911619342</cx:pt>
          <cx:pt idx="913">1.0293949574845529</cx:pt>
          <cx:pt idx="914">1.0413276265452929</cx:pt>
          <cx:pt idx="915">1.02038291357832</cx:pt>
          <cx:pt idx="916">1.0250852574036158</cx:pt>
          <cx:pt idx="917">1.0339010580560708</cx:pt>
          <cx:pt idx="918">1.0415595213712656</cx:pt>
          <cx:pt idx="919">1.0115282805565011</cx:pt>
          <cx:pt idx="920">1.0353193886715055</cx:pt>
          <cx:pt idx="921">1.0416933071862176</cx:pt>
          <cx:pt idx="922">1.0352788830027388</cx:pt>
          <cx:pt idx="923">1.0220983055638821</cx:pt>
          <cx:pt idx="924">1.0038786072352157</cx:pt>
          <cx:pt idx="925">1.050988577125038</cx:pt>
          <cx:pt idx="926">1.1076516862554386</cx:pt>
          <cx:pt idx="927">1.1190769045421187</cx:pt>
          <cx:pt idx="928">1.1234075467652123</cx:pt>
          <cx:pt idx="929">1.1464433078283971</cx:pt>
          <cx:pt idx="930">1.1596365763666272</cx:pt>
          <cx:pt idx="931">1.1609018555759008</cx:pt>
          <cx:pt idx="932">1.1876907203947618</cx:pt>
          <cx:pt idx="933">1.2210278589197154</cx:pt>
          <cx:pt idx="934">1.2250601038579765</cx:pt>
          <cx:pt idx="935">1.1941663759013375</cx:pt>
          <cx:pt idx="936">1.192931601749075</cx:pt>
          <cx:pt idx="937">1.2166275439283634</cx:pt>
          <cx:pt idx="938">1.2223403429399258</cx:pt>
          <cx:pt idx="939">1.2586435777907814</cx:pt>
          <cx:pt idx="940">1.2306150223905663</cx:pt>
          <cx:pt idx="941">1.2310858918525061</cx:pt>
          <cx:pt idx="942">1.2306177310602999</cx:pt>
          <cx:pt idx="943">1.2239640341894231</cx:pt>
          <cx:pt idx="944">1.232149009980408</cx:pt>
          <cx:pt idx="945">1.2604990477832048</cx:pt>
          <cx:pt idx="946">1.2708860680050997</cx:pt>
          <cx:pt idx="947">1.2720528662849104</cx:pt>
          <cx:pt idx="948">1.2389989889518298</cx:pt>
          <cx:pt idx="949">1.2321954355530824</cx:pt>
          <cx:pt idx="950">1.2459082276909315</cx:pt>
          <cx:pt idx="951">1.2459082276909315</cx:pt>
          <cx:pt idx="952">1.2242088513925868</cx:pt>
          <cx:pt idx="953">1.2429559806736812</cx:pt>
          <cx:pt idx="954">1.2691978670823758</cx:pt>
          <cx:pt idx="955">1.2554374639170414</cx:pt>
          <cx:pt idx="956">1.220618827718402</cx:pt>
          <cx:pt idx="957">1.1769065520499344</cx:pt>
          <cx:pt idx="958">1.1656070456831653</cx:pt>
          <cx:pt idx="959">1.1385248898162843</cx:pt>
          <cx:pt idx="960">1.1226240382170674</cx:pt>
          <cx:pt idx="961">1.0975156696654904</cx:pt>
          <cx:pt idx="962">1.1170250427974118</cx:pt>
          <cx:pt idx="963">1.0947415858479785</cx:pt>
          <cx:pt idx="964">1.0580402862423661</cx:pt>
          <cx:pt idx="965">1.0470957274125376</cx:pt>
          <cx:pt idx="966">1.0661087922858752</cx:pt>
          <cx:pt idx="967">1.0972440549526945</cx:pt>
          <cx:pt idx="968">1.0747801975838034</cx:pt>
          <cx:pt idx="969">1.0187755669989238</cx:pt>
          <cx:pt idx="970">0.96582729594446548</cx:pt>
          <cx:pt idx="971">0.96673866991756285</cx:pt>
          <cx:pt idx="972">0.98411075519710889</cx:pt>
          <cx:pt idx="973">0.99618584438805413</cx:pt>
          <cx:pt idx="974">0.98950992540404503</cx:pt>
          <cx:pt idx="975">1.0324817163628885</cx:pt>
          <cx:pt idx="976">0.99070475621069642</cx:pt>
          <cx:pt idx="977">0.98865565289437385</cx:pt>
          <cx:pt idx="978">0.99159716933670172</cx:pt>
          <cx:pt idx="979">1.0537051882077426</cx:pt>
          <cx:pt idx="980">1.0505156951737809</cx:pt>
          <cx:pt idx="981">1.0262922093267257</cx:pt>
          <cx:pt idx="982">1.04098505871752</cx:pt>
          <cx:pt idx="983">1.040768119981532</cx:pt>
          <cx:pt idx="984">1.0748751365343723</cx:pt>
          <cx:pt idx="985">1.0688295276328141</cx:pt>
          <cx:pt idx="986">1.0704682926604587</cx:pt>
          <cx:pt idx="987">1.0606047169381239</cx:pt>
          <cx:pt idx="988">1.0432767857155181</cx:pt>
          <cx:pt idx="989">1.0822071234585899</cx:pt>
          <cx:pt idx="990">1.1188993247494308</cx:pt>
          <cx:pt idx="991">1.1378254113292894</cx:pt>
          <cx:pt idx="992">1.1472703462182867</cx:pt>
          <cx:pt idx="993">1.1152697730444707</cx:pt>
          <cx:pt idx="994">1.1071457053627696</cx:pt>
          <cx:pt idx="995">1.1051860155793942</cx:pt>
          <cx:pt idx="996">1.1066345376862223</cx:pt>
          <cx:pt idx="997">1.1335717649256081</cx:pt>
          <cx:pt idx="998">1.0982821385755017</cx:pt>
          <cx:pt idx="999">1.1117445362935199</cx:pt>
          <cx:pt idx="1000">1.1122630229662689</cx:pt>
          <cx:pt idx="1001">1.1382282969220092</cx:pt>
          <cx:pt idx="1002">1.1413347213839407</cx:pt>
          <cx:pt idx="1003">1.1662746499601984</cx:pt>
          <cx:pt idx="1004">1.1764550359503341</cx:pt>
          <cx:pt idx="1005">1.2075621936831669</cx:pt>
          <cx:pt idx="1006">1.1595902131208209</cx:pt>
          <cx:pt idx="1007">1.1515379150911498</cx:pt>
          <cx:pt idx="1008">1.1596321255754627</cx:pt>
          <cx:pt idx="1009">1.1580799831237163</cx:pt>
          <cx:pt idx="1010">1.1029278727428722</cx:pt>
          <cx:pt idx="1011">1.1112990557891467</cx:pt>
          <cx:pt idx="1012">1.12100713166657</cx:pt>
          <cx:pt idx="1013">1.1524443400829587</cx:pt>
          <cx:pt idx="1014">1.1686955323401502</cx:pt>
          <cx:pt idx="1015">1.2112303351267186</cx:pt>
          <cx:pt idx="1016">1.1948735479953203</cx:pt>
          <cx:pt idx="1017">1.2075956739852776</cx:pt>
          <cx:pt idx="1018">1.2528659618169733</cx:pt>
          <cx:pt idx="1019">1.3208037631098577</cx:pt>
          <cx:pt idx="1020">1.3635414043183005</cx:pt>
          <cx:pt idx="1021">1.3398144631623159</cx:pt>
          <cx:pt idx="1022">1.3154504523064023</cx:pt>
          <cx:pt idx="1023">1.2650162989302312</cx:pt>
          <cx:pt idx="1024">1.313782522386804</cx:pt>
          <cx:pt idx="1025">1.3835856487083944</cx:pt>
          <cx:pt idx="1026">1.3776041224820614</cx:pt>
          <cx:pt idx="1027">1.3923429623232859</cx:pt>
          <cx:pt idx="1028">1.3363051290216108</cx:pt>
          <cx:pt idx="1029">1.3285824768712946</cx:pt>
          <cx:pt idx="1030">1.2906919874437952</cx:pt>
          <cx:pt idx="1031">1.2872032699090372</cx:pt>
          <cx:pt idx="1032">1.2704197088203333</cx:pt>
          <cx:pt idx="1033">1.2476837033703354</cx:pt>
          <cx:pt idx="1034">1.153131594016173</cx:pt>
          <cx:pt idx="1035">1.1583631387826199</cx:pt>
          <cx:pt idx="1036">1.0511983944604029</cx:pt>
          <cx:pt idx="1037">1.0160724510616608</cx:pt>
          <cx:pt idx="1038">0.98599668476399582</cx:pt>
          <cx:pt idx="1039">0.91179145417906704</cx:pt>
          <cx:pt idx="1040">0.89384718811378727</cx:pt>
          <cx:pt idx="1041">0.88848511886897297</cx:pt>
          <cx:pt idx="1042">0.88690618480488781</cx:pt>
          <cx:pt idx="1043">0.8774199715367853</cx:pt>
          <cx:pt idx="1044">0.90937624847492193</cx:pt>
          <cx:pt idx="1045">0.91279035739820358</cx:pt>
          <cx:pt idx="1046">0.89785083896617168</cx:pt>
          <cx:pt idx="1047">0.93194339668439963</cx:pt>
          <cx:pt idx="1048">0.9647649443514531</cx:pt>
          <cx:pt idx="1049">0.97822210904459506</cx:pt>
          <cx:pt idx="1050">0.95953236818327159</cx:pt>
          <cx:pt idx="1051">0.97362718351179878</cx:pt>
          <cx:pt idx="1052">0.98167806737086105</cx:pt>
          <cx:pt idx="1053">0.97788492407398453</cx:pt>
          <cx:pt idx="1054">1.0998992133690666</cx:pt>
          <cx:pt idx="1055">1.0801370880736654</cx:pt>
          <cx:pt idx="1056">1.0680035640873231</cx:pt>
          <cx:pt idx="1057">1.0711806369558996</cx:pt>
          <cx:pt idx="1058">1.0855645179263387</cx:pt>
          <cx:pt idx="1059">1.1704332439291967</cx:pt>
          <cx:pt idx="1060">1.261100048899108</cx:pt>
          <cx:pt idx="1061">1.3071364088716406</cx:pt>
          <cx:pt idx="1062">1.3615452953897085</cx:pt>
          <cx:pt idx="1063">1.3689009797911307</cx:pt>
          <cx:pt idx="1064">1.3472239877311711</cx:pt>
          <cx:pt idx="1065">1.3432196915564276</cx:pt>
          <cx:pt idx="1066">1.3655446745033699</cx:pt>
          <cx:pt idx="1067">1.4122153724076629</cx:pt>
          <cx:pt idx="1068">1.4533902524120796</cx:pt>
          <cx:pt idx="1069">1.3918685514502176</cx:pt>
          <cx:pt idx="1070">1.3932043980061415</cx:pt>
          <cx:pt idx="1071">1.3047770789703697</cx:pt>
          <cx:pt idx="1072">1.3044577005304223</cx:pt>
          <cx:pt idx="1073">1.3182902742991873</cx:pt>
          <cx:pt idx="1074">1.2726457919735386</cx:pt>
          <cx:pt idx="1075">1.2905888461831951</cx:pt>
          <cx:pt idx="1076">1.2782971704239889</cx:pt>
          <cx:pt idx="1077">1.2638930300456002</cx:pt>
          <cx:pt idx="1078">1.291884761330955</cx:pt>
          <cx:pt idx="1079">1.291271191625748</cx:pt>
          <cx:pt idx="1080">1.2875560745696819</cx:pt>
          <cx:pt idx="1081">1.260560380592012</cx:pt>
          <cx:pt idx="1082">1.1346306300583751</cx:pt>
          <cx:pt idx="1083">1.0353853368185797</cx:pt>
          <cx:pt idx="1084">0.93052488367575892</cx:pt>
          <cx:pt idx="1085">0.9710787704891003</cx:pt>
          <cx:pt idx="1086">1.0401015252347714</cx:pt>
          <cx:pt idx="1087">1.0376374115506155</cx:pt>
          <cx:pt idx="1088">1.0840033329314307</cx:pt>
          <cx:pt idx="1089">1.0814530249443519</cx:pt>
          <cx:pt idx="1090">1.0721034495101729</cx:pt>
          <cx:pt idx="1091">1.0734758136915075</cx:pt>
          <cx:pt idx="1092">1.1623480129573094</cx:pt>
          <cx:pt idx="1093">1.2213931759767533</cx:pt>
          <cx:pt idx="1094">1.2496915748527972</cx:pt>
          <cx:pt idx="1095">1.244874826371444</cx:pt>
          <cx:pt idx="1096">1.228581838272621</cx:pt>
          <cx:pt idx="1097">1.1999082402193246</cx:pt>
          <cx:pt idx="1098">1.1800648788433499</cx:pt>
          <cx:pt idx="1099">1.1579577870367901</cx:pt>
          <cx:pt idx="1100">1.1564686701101059</cx:pt>
          <cx:pt idx="1101">1.1644842875341763</cx:pt>
          <cx:pt idx="1102">1.1665069629554963</cx:pt>
          <cx:pt idx="1103">1.1897974888678029</cx:pt>
          <cx:pt idx="1104">1.204958840148332</cx:pt>
          <cx:pt idx="1105">1.2249238729911569</cx:pt>
          <cx:pt idx="1106">1.2079249958912701</cx:pt>
          <cx:pt idx="1107">1.2107917075780563</cx:pt>
          <cx:pt idx="1108">1.2089384839868884</cx:pt>
          <cx:pt idx="1109">1.19009071670125</cx:pt>
          <cx:pt idx="1110">1.1990248726199515</cx:pt>
          <cx:pt idx="1111">1.2067239040663618</cx:pt>
          <cx:pt idx="1112">1.1882714472114801</cx:pt>
          <cx:pt idx="1113">1.1384502765857034</cx:pt>
          <cx:pt idx="1114">1.1424546295784188</cx:pt>
          <cx:pt idx="1115">1.1475463305004996</cx:pt>
          <cx:pt idx="1116">1.1352384998813703</cx:pt>
          <cx:pt idx="1117">1.0813008891623213</cx:pt>
          <cx:pt idx="1118">1.1328722654794201</cx:pt>
          <cx:pt idx="1119">1.1406042541197756</cx:pt>
          <cx:pt idx="1120">1.1604401278491627</cx:pt>
          <cx:pt idx="1121">1.1987262056570849</cx:pt>
          <cx:pt idx="1122">1.1992123759287361</cx:pt>
          <cx:pt idx="1123">1.1453037348936261</cx:pt>
          <cx:pt idx="1124">1.1364622526124226</cx:pt>
          <cx:pt idx="1125">1.1139808496259405</cx:pt>
          <cx:pt idx="1126">1.1338679637152571</cx:pt>
          <cx:pt idx="1127">1.1511889132451254</cx:pt>
          <cx:pt idx="1128">1.1756331627396921</cx:pt>
          <cx:pt idx="1129">1.184046370059725</cx:pt>
          <cx:pt idx="1130">1.1728352743011952</cx:pt>
          <cx:pt idx="1131">1.1842184483165812</cx:pt>
          <cx:pt idx="1132">1.2329557108616005</cx:pt>
          <cx:pt idx="1133">1.2408205748313208</cx:pt>
          <cx:pt idx="1134">1.2530013859203339</cx:pt>
          <cx:pt idx="1135">1.2024628847691348</cx:pt>
          <cx:pt idx="1136">1.1989521410628274</cx:pt>
          <cx:pt idx="1137">1.2201641877883849</cx:pt>
          <cx:pt idx="1138">1.2205051836128367</cx:pt>
          <cx:pt idx="1139">1.2692960541647791</cx:pt>
          <cx:pt idx="1140">1.2689338510259576</cx:pt>
          <cx:pt idx="1141">1.3163422766314654</cx:pt>
          <cx:pt idx="1142">1.3303216524302415</cx:pt>
          <cx:pt idx="1143">1.3300021828747539</cx:pt>
          <cx:pt idx="1144">1.3589768447314055</cx:pt>
          <cx:pt idx="1145">1.3399499268448845</cx:pt>
          <cx:pt idx="1146">1.3377062698949003</cx:pt>
          <cx:pt idx="1147">1.337820808676943</cx:pt>
          <cx:pt idx="1148">1.3570405814805038</cx:pt>
          <cx:pt idx="1149">1.3279068337574675</cx:pt>
          <cx:pt idx="1150">1.3351476097364454</cx:pt>
          <cx:pt idx="1151">1.3358786726185079</cx:pt>
          <cx:pt idx="1152">1.3013408304472913</cx:pt>
          <cx:pt idx="1153">1.2624624342329795</cx:pt>
          <cx:pt idx="1154">1.283631190123574</cx:pt>
          <cx:pt idx="1155">1.258807423330613</cx:pt>
          <cx:pt idx="1156">1.2462887702794767</cx:pt>
          <cx:pt idx="1157">1.265383702273146</cx:pt>
          <cx:pt idx="1158">1.2715369583929281</cx:pt>
          <cx:pt idx="1159">1.2687505495522933</cx:pt>
          <cx:pt idx="1160">1.2574624558836689</cx:pt>
          <cx:pt idx="1161">1.2482086088402029</cx:pt>
          <cx:pt idx="1162">1.2362723192370795</cx:pt>
          <cx:pt idx="1163">1.2393620453966998</cx:pt>
          <cx:pt idx="1164">1.2380898398795228</cx:pt>
          <cx:pt idx="1165">1.2080510385856866</cx:pt>
          <cx:pt idx="1166">1.2028434948563667</cx:pt>
          <cx:pt idx="1167">1.2342470605399924</cx:pt>
          <cx:pt idx="1168">1.2572110283848419</cx:pt>
          <cx:pt idx="1169">1.2561675800813008</cx:pt>
          <cx:pt idx="1170">1.207023531854956</cx:pt>
          <cx:pt idx="1171">1.1839356637562608</cx:pt>
          <cx:pt idx="1172">1.1459143881399849</cx:pt>
          <cx:pt idx="1173">1.1456598793445567</cx:pt>
          <cx:pt idx="1174">1.1457079325319637</cx:pt>
          <cx:pt idx="1175">1.1686132761727939</cx:pt>
          <cx:pt idx="1176">1.1840589930086804</cx:pt>
          <cx:pt idx="1177">1.1799609980797019</cx:pt>
          <cx:pt idx="1178">1.2074214950325612</cx:pt>
          <cx:pt idx="1179">1.1830343708365554</cx:pt>
          <cx:pt idx="1180">1.2103381736620782</cx:pt>
          <cx:pt idx="1181">1.1722424975738932</cx:pt>
          <cx:pt idx="1182">1.1491634170733875</cx:pt>
          <cx:pt idx="1183">1.1588226320162709</cx:pt>
          <cx:pt idx="1184">1.1641592101884799</cx:pt>
          <cx:pt idx="1185">1.1424589590520433</cx:pt>
          <cx:pt idx="1186">1.1239037191381085</cx:pt>
          <cx:pt idx="1187">1.13520847405659</cx:pt>
          <cx:pt idx="1188">1.1039940197749822</cx:pt>
          <cx:pt idx="1189">1.1485204133078983</cx:pt>
          <cx:pt idx="1190">1.1285096271165003</cx:pt>
          <cx:pt idx="1191">1.1317107613307502</cx:pt>
          <cx:pt idx="1192">1.1595573868219426</cx:pt>
          <cx:pt idx="1193">1.1713763616554504</cx:pt>
          <cx:pt idx="1194">1.115699693668333</cx:pt>
          <cx:pt idx="1195">1.1049400314579423</cx:pt>
          <cx:pt idx="1196">1.1232422349073101</cx:pt>
          <cx:pt idx="1197">1.13756200350924</cx:pt>
          <cx:pt idx="1198">1.1300760275118609</cx:pt>
          <cx:pt idx="1199">1.1065257067890222</cx:pt>
          <cx:pt idx="1200">1.1056502003759585</cx:pt>
          <cx:pt idx="1201">1.1198791217411934</cx:pt>
          <cx:pt idx="1202">1.1410269850644024</cx:pt>
          <cx:pt idx="1203">1.1254909561933926</cx:pt>
          <cx:pt idx="1204">1.2148238511188816</cx:pt>
          <cx:pt idx="1205">1.2172879250502395</cx:pt>
          <cx:pt idx="1206">1.1622299663249331</cx:pt>
          <cx:pt idx="1207">1.2296568277281648</cx:pt>
          <cx:pt idx="1208">1.2293309658736793</cx:pt>
          <cx:pt idx="1209">1.2752251329804261</cx:pt>
          <cx:pt idx="1210">1.2746577023124737</cx:pt>
          <cx:pt idx="1211">1.2283097049127287</cx:pt>
          <cx:pt idx="1212">1.2589742368421435</cx:pt>
          <cx:pt idx="1213">1.3373793986427256</cx:pt>
          <cx:pt idx="1214">1.3353899192966598</cx:pt>
          <cx:pt idx="1215">1.380151775976534</cx:pt>
          <cx:pt idx="1216">1.3802215031832612</cx:pt>
          <cx:pt idx="1217">1.3788596659902062</cx:pt>
          <cx:pt idx="1218">1.3652806241925863</cx:pt>
          <cx:pt idx="1219">1.3806399482365652</cx:pt>
          <cx:pt idx="1220">1.3222301135272483</cx:pt>
          <cx:pt idx="1221">1.3767558095536712</cx:pt>
          <cx:pt idx="1222">1.3563562826895441</cx:pt>
          <cx:pt idx="1223">1.2848382183418376</cx:pt>
          <cx:pt idx="1224">1.3191234463334607</cx:pt>
          <cx:pt idx="1225">1.3030090073051221</cx:pt>
          <cx:pt idx="1226">1.2468451370153892</cx:pt>
          <cx:pt idx="1227">1.1865573224964279</cx:pt>
          <cx:pt idx="1228">1.1940906469436396</cx:pt>
          <cx:pt idx="1229">1.1941997815606775</cx:pt>
          <cx:pt idx="1230">1.1209179226184722</cx:pt>
          <cx:pt idx="1231">1.087042451021385</cx:pt>
          <cx:pt idx="1232">0.94608963179914918</cx:pt>
          <cx:pt idx="1233">0.95114554588788636</cx:pt>
          <cx:pt idx="1234">0.92392977901956352</cx:pt>
          <cx:pt idx="1235">0.91926302880570188</cx:pt>
          <cx:pt idx="1236">0.90310182328783206</cx:pt>
          <cx:pt idx="1237">0.85515602550469638</cx:pt>
          <cx:pt idx="1238">0.85515602550469638</cx:pt>
          <cx:pt idx="1239">0.85752782957442475</cx:pt>
          <cx:pt idx="1240">0.88380129621018066</cx:pt>
          <cx:pt idx="1241">0.87581568739065729</cx:pt>
          <cx:pt idx="1242">0.84297374287862348</cx:pt>
          <cx:pt idx="1243">0.89059470284253428</cx:pt>
          <cx:pt idx="1244">0.87487129621804149</cx:pt>
          <cx:pt idx="1245">0.89519397789781618</cx:pt>
          <cx:pt idx="1246">1.028501885769908</cx:pt>
          <cx:pt idx="1247">1.1799191698213176</cx:pt>
          <cx:pt idx="1248">1.2622088507040736</cx:pt>
          <cx:pt idx="1249">1.3251965161634001</cx:pt>
          <cx:pt idx="1250">1.389362815199134</cx:pt>
          <cx:pt idx="1251">1.3685070744805172</cx:pt>
          <cx:pt idx="1252">1.4021499620686191</cx:pt>
          <cx:pt idx="1253">1.4384092916560913</cx:pt>
          <cx:pt idx="1254">1.4399321967310801</cx:pt>
          <cx:pt idx="1255">1.4136415265516913</cx:pt>
          <cx:pt idx="1256">1.4138070315925875</cx:pt>
          <cx:pt idx="1257">1.413877380578608</cx:pt>
          <cx:pt idx="1258">1.399181865403178</cx:pt>
          <cx:pt idx="1259">1.3792683895176383</cx:pt>
          <cx:pt idx="1260">1.3883747750982187</cx:pt>
          <cx:pt idx="1261">1.380880815985575</cx:pt>
          <cx:pt idx="1262">1.3626198674706766</cx:pt>
          <cx:pt idx="1263">1.3277208218014658</cx:pt>
          <cx:pt idx="1264">1.3516939591267629</cx:pt>
          <cx:pt idx="1265">1.3462609311064679</cx:pt>
          <cx:pt idx="1266">1.2949925063095336</cx:pt>
          <cx:pt idx="1267">1.2875356138721934</cx:pt>
          <cx:pt idx="1268">1.2925681696213471</cx:pt>
          <cx:pt idx="1269">1.2082183630880741</cx:pt>
          <cx:pt idx="1270">1.2358919986220738</cx:pt>
          <cx:pt idx="1271">1.2535262091353521</cx:pt>
          <cx:pt idx="1272">1.2791458003271647</cx:pt>
          <cx:pt idx="1273">1.2562907512247719</cx:pt>
          <cx:pt idx="1274">1.2581437940281752</cx:pt>
          <cx:pt idx="1275">1.1711719156101623</cx:pt>
          <cx:pt idx="1276">1.1688625111160302</cx:pt>
          <cx:pt idx="1277">1.1958299407992035</cx:pt>
          <cx:pt idx="1278">1.1718204750756194</cx:pt>
          <cx:pt idx="1279">1.2082407899303897</cx:pt>
          <cx:pt idx="1280">1.198430694296611</cx:pt>
          <cx:pt idx="1281">1.2080092928503914</cx:pt>
          <cx:pt idx="1282">1.212537107291624</cx:pt>
          <cx:pt idx="1283">1.1705935448787628</cx:pt>
          <cx:pt idx="1284">1.1690369163666121</cx:pt>
          <cx:pt idx="1285">1.1954600500153889</cx:pt>
          <cx:pt idx="1286">1.1947319850615168</cx:pt>
          <cx:pt idx="1287">1.2027073402272723</cx:pt>
          <cx:pt idx="1288">1.192201180973236</cx:pt>
          <cx:pt idx="1289">1.1943800299376992</cx:pt>
          <cx:pt idx="1290">1.2041458847780686</cx:pt>
          <cx:pt idx="1291">1.1946829335970099</cx:pt>
          <cx:pt idx="1292">1.1630766577607676</cx:pt>
          <cx:pt idx="1293">1.1653394908919283</cx:pt>
          <cx:pt idx="1294">1.2137632760643986</cx:pt>
          <cx:pt idx="1295">1.2043527686678228</cx:pt>
          <cx:pt idx="1296">1.2020327764661516</cx:pt>
          <cx:pt idx="1297">1.2010673568534473</cx:pt>
          <cx:pt idx="1298">1.171244627946965</cx:pt>
          <cx:pt idx="1299">1.1556109030031629</cx:pt>
          <cx:pt idx="1300">1.1863713538548173</cx:pt>
          <cx:pt idx="1301">1.1704909364271323</cx:pt>
          <cx:pt idx="1302">1.1709248251858697</cx:pt>
          <cx:pt idx="1303">1.1225769126127541</cx:pt>
          <cx:pt idx="1304">1.133412773939412</cx:pt>
          <cx:pt idx="1305">1.1215102145278584</cx:pt>
          <cx:pt idx="1306">1.0894462438686776</cx:pt>
          <cx:pt idx="1307">1.0959017497756312</cx:pt>
          <cx:pt idx="1308">1.0837149369258177</cx:pt>
          <cx:pt idx="1309">1.087469688120384</cx:pt>
          <cx:pt idx="1310">1.1154979600719721</cx:pt>
          <cx:pt idx="1311">1.1321466905981123</cx:pt>
          <cx:pt idx="1312">1.1518719686918617</cx:pt>
          <cx:pt idx="1313">1.1825125428419334</cx:pt>
          <cx:pt idx="1314">1.2126166499701985</cx:pt>
          <cx:pt idx="1315">1.2224150255226973</cx:pt>
          <cx:pt idx="1316">1.1792853677098789</cx:pt>
          <cx:pt idx="1317">1.1811776518209658</cx:pt>
          <cx:pt idx="1318">1.1798416150310771</cx:pt>
          <cx:pt idx="1319">1.1902362646094258</cx:pt>
          <cx:pt idx="1320">1.1810982678336168</cx:pt>
          <cx:pt idx="1321">1.187350262206267</cx:pt>
          <cx:pt idx="1322">1.1893373053118499</cx:pt>
          <cx:pt idx="1323">1.2268308679254141</cx:pt>
          <cx:pt idx="1324">1.2547379454802334</cx:pt>
          <cx:pt idx="1325">1.2169847279062254</cx:pt>
          <cx:pt idx="1326">1.2516828242302915</cx:pt>
          <cx:pt idx="1327">1.26611937808798</cx:pt>
          <cx:pt idx="1328">1.2588833591035979</cx:pt>
          <cx:pt idx="1329">1.2760229714452302</cx:pt>
          <cx:pt idx="1330">1.2431512161585814</cx:pt>
          <cx:pt idx="1331">1.2307338487470043</cx:pt>
          <cx:pt idx="1332">1.223016366308344</cx:pt>
          <cx:pt idx="1333">1.192687216205039</cx:pt>
          <cx:pt idx="1334">1.2008074344471962</cx:pt>
          <cx:pt idx="1335">1.1700190238321053</cx:pt>
          <cx:pt idx="1336">1.1840233941309874</cx:pt>
          <cx:pt idx="1337">1.1950072659157343</cx:pt>
          <cx:pt idx="1338">1.2160478025408856</cx:pt>
          <cx:pt idx="1339">1.2359066151171467</cx:pt>
          <cx:pt idx="1340">1.236830757452549</cx:pt>
          <cx:pt idx="1341">1.1705689270193473</cx:pt>
          <cx:pt idx="1342">1.2141702773357581</cx:pt>
          <cx:pt idx="1343">1.1539392093714169</cx:pt>
          <cx:pt idx="1344">1.1563794071728073</cx:pt>
          <cx:pt idx="1345">1.1029686237360681</cx:pt>
          <cx:pt idx="1346">1.0866904476585126</cx:pt>
          <cx:pt idx="1347">1.1600508887614065</cx:pt>
          <cx:pt idx="1348">1.1994426124851332</cx:pt>
          <cx:pt idx="1349">1.2000491925400929</cx:pt>
          <cx:pt idx="1350">1.2345805086174269</cx:pt>
          <cx:pt idx="1351">1.2548678549286907</cx:pt>
          <cx:pt idx="1352">1.2465210081085332</cx:pt>
          <cx:pt idx="1353">1.2640826500812987</cx:pt>
          <cx:pt idx="1354">1.2352094419941089</cx:pt>
          <cx:pt idx="1355">1.2155193588865449</cx:pt>
          <cx:pt idx="1356">1.2319307339835845</cx:pt>
          <cx:pt idx="1357">1.2455892072100978</cx:pt>
          <cx:pt idx="1358">1.2597611994222921</cx:pt>
          <cx:pt idx="1359">1.2563064142364364</cx:pt>
          <cx:pt idx="1360">1.2450946330144108</cx:pt>
          <cx:pt idx="1361">1.2605498032412734</cx:pt>
          <cx:pt idx="1362">1.2904805306551506</cx:pt>
          <cx:pt idx="1363">1.270760249969767</cx:pt>
          <cx:pt idx="1364">1.264845096555135</cx:pt>
          <cx:pt idx="1365">1.2466873093570126</cx:pt>
          <cx:pt idx="1366">1.2989006104005509</cx:pt>
          <cx:pt idx="1367">1.2734437265663456</cx:pt>
          <cx:pt idx="1368">1.2432582928722811</cx:pt>
          <cx:pt idx="1369">1.209481182649319</cx:pt>
          <cx:pt idx="1370">1.2296816617512483</cx:pt>
          <cx:pt idx="1371">1.2323066054730343</cx:pt>
          <cx:pt idx="1372">1.212700620804213</cx:pt>
          <cx:pt idx="1373">1.1967059627537258</cx:pt>
          <cx:pt idx="1374">1.1763671981767581</cx:pt>
          <cx:pt idx="1375">1.1848951679957953</cx:pt>
          <cx:pt idx="1376">1.1910334357864558</cx:pt>
          <cx:pt idx="1377">1.2126312809984383</cx:pt>
          <cx:pt idx="1378">1.1763189348808167</cx:pt>
          <cx:pt idx="1379">1.1673028373042249</cx:pt>
          <cx:pt idx="1380">1.1676363404998635</cx:pt>
          <cx:pt idx="1381">1.1739930940794479</cx:pt>
          <cx:pt idx="1382">1.1602243943140005</cx:pt>
          <cx:pt idx="1383">1.1467191160797814</cx:pt>
          <cx:pt idx="1384">1.1193494654514518</cx:pt>
          <cx:pt idx="1385">1.114289589973172</cx:pt>
          <cx:pt idx="1386">1.0851605104008033</cx:pt>
          <cx:pt idx="1387">1.0860217427871555</cx:pt>
          <cx:pt idx="1388">1.0939177889733112</cx:pt>
          <cx:pt idx="1389">1.0944152462309704</cx:pt>
          <cx:pt idx="1390">1.0928089484669599</cx:pt>
          <cx:pt idx="1391">1.1134582377942284</cx:pt>
          <cx:pt idx="1392">1.1160279026842892</cx:pt>
          <cx:pt idx="1393">1.0983741650510601</cx:pt>
          <cx:pt idx="1394">1.0877704335607918</cx:pt>
          <cx:pt idx="1395">1.0868355960784626</cx:pt>
          <cx:pt idx="1396">1.1055699644240342</cx:pt>
          <cx:pt idx="1397">1.0810456904988972</cx:pt>
          <cx:pt idx="1398">1.0811659377478728</cx:pt>
          <cx:pt idx="1399">1.1147213355426457</cx:pt>
          <cx:pt idx="1400">1.1152793179241014</cx:pt>
          <cx:pt idx="1401">1.1194298664080986</cx:pt>
          <cx:pt idx="1402">1.1058992351383425</cx:pt>
          <cx:pt idx="1403">1.1329745795248292</cx:pt>
          <cx:pt idx="1404">1.1442077599148959</cx:pt>
          <cx:pt idx="1405">1.1292060204228196</cx:pt>
          <cx:pt idx="1406">1.13315735509145</cx:pt>
          <cx:pt idx="1407">1.1501519301229697</cx:pt>
          <cx:pt idx="1408">1.1117753892441735</cx:pt>
          <cx:pt idx="1409">1.1126686896391158</cx:pt>
          <cx:pt idx="1410">1.1056995061269872</cx:pt>
          <cx:pt idx="1411">1.0995605182677914</cx:pt>
          <cx:pt idx="1412">1.0551933013556365</cx:pt>
          <cx:pt idx="1413">1.0470350355128519</cx:pt>
          <cx:pt idx="1414">1.0964236093694792</cx:pt>
          <cx:pt idx="1415">1.1094934424883871</cx:pt>
          <cx:pt idx="1416">1.1194542641226422</cx:pt>
          <cx:pt idx="1417">1.1535463784832531</cx:pt>
          <cx:pt idx="1418">1.1538977424364782</cx:pt>
          <cx:pt idx="1419">1.1275825316097261</cx:pt>
          <cx:pt idx="1420">1.0950619366781456</cx:pt>
          <cx:pt idx="1421">1.1498027881392983</cx:pt>
          <cx:pt idx="1422">1.1167475817257557</cx:pt>
          <cx:pt idx="1423">1.0896356301312902</cx:pt>
          <cx:pt idx="1424">1.0724048946477802</cx:pt>
          <cx:pt idx="1425">1.0807394919509357</cx:pt>
          <cx:pt idx="1426">1.0835430731622304</cx:pt>
          <cx:pt idx="1427">1.0677615012988222</cx:pt>
          <cx:pt idx="1428">1.0815416118044265</cx:pt>
          <cx:pt idx="1429">1.0881554877826045</cx:pt>
          <cx:pt idx="1430">1.0558834653848495</cx:pt>
          <cx:pt idx="1431">1.0447519641841632</cx:pt>
          <cx:pt idx="1432">1.0326724907337659</cx:pt>
          <cx:pt idx="1433">1.0338727693608176</cx:pt>
          <cx:pt idx="1434">1.0406590137003087</cx:pt>
          <cx:pt idx="1435">1.0335336607759757</cx:pt>
          <cx:pt idx="1436">1.0744498967588767</cx:pt>
          <cx:pt idx="1437">1.062676474907853</cx:pt>
          <cx:pt idx="1438">1.0883596219387537</cx:pt>
          <cx:pt idx="1439">1.1158171700548651</cx:pt>
          <cx:pt idx="1440">1.1097750425925477</cx:pt>
          <cx:pt idx="1441">1.1147140044997901</cx:pt>
          <cx:pt idx="1442">1.1065108388800993</cx:pt>
          <cx:pt idx="1443">1.0844881851158703</cx:pt>
          <cx:pt idx="1444">1.079068993379533</cx:pt>
          <cx:pt idx="1445">1.0715498774135277</cx:pt>
          <cx:pt idx="1446">1.0594454828743176</cx:pt>
          <cx:pt idx="1447">1.0553875097322902</cx:pt>
          <cx:pt idx="1448">1.0458229254505034</cx:pt>
          <cx:pt idx="1449">1.0589550540280794</cx:pt>
          <cx:pt idx="1450">1.0381418470631338</cx:pt>
          <cx:pt idx="1451">1.0316010106437905</cx:pt>
          <cx:pt idx="1452">1.0400896363356873</cx:pt>
          <cx:pt idx="1453">1.0641397151376941</cx:pt>
          <cx:pt idx="1454">1.0637855916237235</cx:pt>
          <cx:pt idx="1455">1.1253318745849992</cx:pt>
          <cx:pt idx="1456">1.1633972315076089</cx:pt>
          <cx:pt idx="1457">1.1581136869184976</cx:pt>
          <cx:pt idx="1458">1.1945052514321248</cx:pt>
          <cx:pt idx="1459">1.1536601873849111</cx:pt>
          <cx:pt idx="1460">1.1680525102351631</cx:pt>
          <cx:pt idx="1461">1.157961872828605</cx:pt>
          <cx:pt idx="1462">1.20105213731925</cx:pt>
          <cx:pt idx="1463">1.1927429307796087</cx:pt>
          <cx:pt idx="1464">1.1917981354654503</cx:pt>
          <cx:pt idx="1465">1.1668229081247636</cx:pt>
          <cx:pt idx="1466">1.1455237802781726</cx:pt>
          <cx:pt idx="1467">1.164985578386901</cx:pt>
          <cx:pt idx="1468">1.2063912238350527</cx:pt>
          <cx:pt idx="1469">1.1789920973405199</cx:pt>
          <cx:pt idx="1470">1.1745661290016198</cx:pt>
          <cx:pt idx="1471">1.1873407533291058</cx:pt>
          <cx:pt idx="1472">1.183952374805022</cx:pt>
          <cx:pt idx="1473">1.1806096475062984</cx:pt>
          <cx:pt idx="1474">1.1810740510139464</cx:pt>
          <cx:pt idx="1475">1.2028268674744007</cx:pt>
          <cx:pt idx="1476">1.2052434724805561</cx:pt>
          <cx:pt idx="1477">1.2107092917985356</cx:pt>
          <cx:pt idx="1478">1.204943669767109</cx:pt>
          <cx:pt idx="1479">1.1525658146020328</cx:pt>
          <cx:pt idx="1480">1.167471212603576</cx:pt>
          <cx:pt idx="1481">1.2154343442413045</cx:pt>
          <cx:pt idx="1482">1.2203102020581946</cx:pt>
          <cx:pt idx="1483">1.1812837012317146</cx:pt>
          <cx:pt idx="1484">1.2020825119730334</cx:pt>
          <cx:pt idx="1485">1.2070122180921183</cx:pt>
          <cx:pt idx="1486">1.1422419004483182</cx:pt>
          <cx:pt idx="1487">1.0953658003421234</cx:pt>
          <cx:pt idx="1488">1.0962952274850293</cx:pt>
          <cx:pt idx="1489">1.059848234215585</cx:pt>
          <cx:pt idx="1490">1.0634454048197579</cx:pt>
          <cx:pt idx="1491">1.0525579696956806</cx:pt>
          <cx:pt idx="1492">1.0412956156345736</cx:pt>
          <cx:pt idx="1493">0.98829743901165212</cx:pt>
          <cx:pt idx="1494">0.97502169813187123</cx:pt>
          <cx:pt idx="1495">0.98247197557777699</cx:pt>
          <cx:pt idx="1496">0.98173447563236871</cx:pt>
          <cx:pt idx="1497">0.99069835258087113</cx:pt>
          <cx:pt idx="1498">0.9654719721629722</cx:pt>
          <cx:pt idx="1499">0.95068294636862472</cx:pt>
          <cx:pt idx="1500">0.94812968125310715</cx:pt>
          <cx:pt idx="1501">0.89558162755435267</cx:pt>
          <cx:pt idx="1502">0.96489277358477987</cx:pt>
          <cx:pt idx="1503">0.96311334318861852</cx:pt>
          <cx:pt idx="1504">0.967305869495937</cx:pt>
          <cx:pt idx="1505">0.97112881884727298</cx:pt>
          <cx:pt idx="1506">0.95819566098536646</cx:pt>
          <cx:pt idx="1507">0.95924813747398674</cx:pt>
          <cx:pt idx="1508">0.96891825281865851</cx:pt>
          <cx:pt idx="1509">1.0344562750286921</cx:pt>
          <cx:pt idx="1510">1.0352776366493368</cx:pt>
          <cx:pt idx="1511">1.003424030480752</cx:pt>
          <cx:pt idx="1512">0.94476099270309288</cx:pt>
          <cx:pt idx="1513">0.93793298245124779</cx:pt>
          <cx:pt idx="1514">0.97561384040582255</cx:pt>
          <cx:pt idx="1515">0.93162708862401822</cx:pt>
          <cx:pt idx="1516">0.96936471825069392</cx:pt>
          <cx:pt idx="1517">0.98430467789436571</cx:pt>
          <cx:pt idx="1518">0.99325185492493706</cx:pt>
          <cx:pt idx="1519">1.0030789160519511</cx:pt>
          <cx:pt idx="1520">1.0396747837251699</cx:pt>
          <cx:pt idx="1521">1.0412388196614129</cx:pt>
          <cx:pt idx="1522">1.0407959113256824</cx:pt>
          <cx:pt idx="1523">1.0416633720378004</cx:pt>
          <cx:pt idx="1524">1.0633067715022699</cx:pt>
          <cx:pt idx="1525">1.0807935157355051</cx:pt>
          <cx:pt idx="1526">1.0811548982354446</cx:pt>
          <cx:pt idx="1527">1.0840346778566166</cx:pt>
          <cx:pt idx="1528">1.0682555370664446</cx:pt>
          <cx:pt idx="1529">1.0420100509287609</cx:pt>
          <cx:pt idx="1530">1.0504827359336388</cx:pt>
          <cx:pt idx="1531">1.0317773578292131</cx:pt>
          <cx:pt idx="1532">1.0444916446285841</cx:pt>
          <cx:pt idx="1533">1.0284208585815395</cx:pt>
          <cx:pt idx="1534">1.0243475762597609</cx:pt>
          <cx:pt idx="1535">1.0542119311120151</cx:pt>
          <cx:pt idx="1536">1.0705294640192451</cx:pt>
          <cx:pt idx="1537">1.045651620678683</cx:pt>
          <cx:pt idx="1538">1.0256272143404241</cx:pt>
          <cx:pt idx="1539">1.0440653586429727</cx:pt>
          <cx:pt idx="1540">1.031075020997372</cx:pt>
          <cx:pt idx="1541">1.058147498712849</cx:pt>
          <cx:pt idx="1542">1.1010530638722034</cx:pt>
          <cx:pt idx="1543">1.1263451217692269</cx:pt>
          <cx:pt idx="1544">1.1363529665188234</cx:pt>
          <cx:pt idx="1545">1.1088996774387019</cx:pt>
          <cx:pt idx="1546">1.1446827047805244</cx:pt>
          <cx:pt idx="1547">1.1181031364126994</cx:pt>
          <cx:pt idx="1548">1.099916614630303</cx:pt>
          <cx:pt idx="1549">1.1247458972289408</cx:pt>
          <cx:pt idx="1550">1.144295811067142</cx:pt>
          <cx:pt idx="1551">1.1651796667956325</cx:pt>
          <cx:pt idx="1552">1.2163817312542287</cx:pt>
          <cx:pt idx="1553">1.2445152789620122</cx:pt>
          <cx:pt idx="1554">1.2440322057857909</cx:pt>
          <cx:pt idx="1555">1.2441431823003808</cx:pt>
          <cx:pt idx="1556">1.2642855945221125</cx:pt>
          <cx:pt idx="1557">1.2613152377705821</cx:pt>
          <cx:pt idx="1558">1.2725346816998877</cx:pt>
          <cx:pt idx="1559">1.2942970026940486</cx:pt>
          <cx:pt idx="1560">1.3448339226721993</cx:pt>
          <cx:pt idx="1561">1.3663196779544651</cx:pt>
          <cx:pt idx="1562">1.3656181396077778</cx:pt>
          <cx:pt idx="1563">1.3615865192716792</cx:pt>
          <cx:pt idx="1564">1.3226808065928204</cx:pt>
          <cx:pt idx="1565">1.3594918405478318</cx:pt>
          <cx:pt idx="1566">1.3841063263278028</cx:pt>
          <cx:pt idx="1567">1.3775576798415099</cx:pt>
          <cx:pt idx="1568">1.3923289841125916</cx:pt>
          <cx:pt idx="1569">1.3895931948997986</cx:pt>
          <cx:pt idx="1570">1.4157582413143366</cx:pt>
          <cx:pt idx="1571">1.4341703232632566</cx:pt>
          <cx:pt idx="1572">1.4050634241223605</cx:pt>
          <cx:pt idx="1573">1.3792822662140167</cx:pt>
          <cx:pt idx="1574">1.3810103049454743</cx:pt>
          <cx:pt idx="1575">1.3814116980719009</cx:pt>
          <cx:pt idx="1576">1.3964725915408192</cx:pt>
          <cx:pt idx="1577">1.3827062447026792</cx:pt>
          <cx:pt idx="1578">1.3907959351872348</cx:pt>
          <cx:pt idx="1579">1.3936875353667189</cx:pt>
          <cx:pt idx="1580">1.3727041047289787</cx:pt>
          <cx:pt idx="1581">1.3863860344648387</cx:pt>
          <cx:pt idx="1582">1.3661588093897132</cx:pt>
          <cx:pt idx="1583">1.3687216388773809</cx:pt>
          <cx:pt idx="1584">1.3486581941808617</cx:pt>
          <cx:pt idx="1585">1.3615357394840848</cx:pt>
          <cx:pt idx="1586">1.3345473236793761</cx:pt>
          <cx:pt idx="1587">1.3004773317219263</cx:pt>
          <cx:pt idx="1588">1.309340636819085</cx:pt>
          <cx:pt idx="1589">1.3114531872566371</cx:pt>
          <cx:pt idx="1590">1.3162634471736998</cx:pt>
          <cx:pt idx="1591">1.3018702840756216</cx:pt>
          <cx:pt idx="1592">1.2672909893204889</cx:pt>
          <cx:pt idx="1593">1.2782558681719907</cx:pt>
          <cx:pt idx="1594">1.2751207406460798</cx:pt>
          <cx:pt idx="1595">1.2930628804908237</cx:pt>
          <cx:pt idx="1596">1.2748082714793858</cx:pt>
          <cx:pt idx="1597">1.2574662183623788</cx:pt>
          <cx:pt idx="1598">1.264957137273744</cx:pt>
          <cx:pt idx="1599">1.26058443520439</cx:pt>
          <cx:pt idx="1600">1.2525626205022926</cx:pt>
          <cx:pt idx="1601">1.2452832298640524</cx:pt>
          <cx:pt idx="1602">1.1995085014960465</cx:pt>
          <cx:pt idx="1603">1.2041000744320687</cx:pt>
          <cx:pt idx="1604">1.1909231081234282</cx:pt>
          <cx:pt idx="1605">1.1857697468198112</cx:pt>
          <cx:pt idx="1606">1.1839278530764972</cx:pt>
          <cx:pt idx="1607">1.1399109567186871</cx:pt>
          <cx:pt idx="1608">1.1127759534518376</cx:pt>
          <cx:pt idx="1609">1.0542812870662486</cx:pt>
          <cx:pt idx="1610">1.0603222273471646</cx:pt>
          <cx:pt idx="1611">1.0135035581415546</cx:pt>
          <cx:pt idx="1612">1.0585625270412298</cx:pt>
          <cx:pt idx="1613">1.0178948336999845</cx:pt>
          <cx:pt idx="1614">1.0562876766837617</cx:pt>
          <cx:pt idx="1615">1.0146539216132573</cx:pt>
          <cx:pt idx="1616">1.0668887537617158</cx:pt>
          <cx:pt idx="1617">1.0756765313048349</cx:pt>
          <cx:pt idx="1618">1.0726686648337083</cx:pt>
          <cx:pt idx="1619">1.0742673422294129</cx:pt>
          <cx:pt idx="1620">1.0787183753572267</cx:pt>
          <cx:pt idx="1621">1.0412580273735677</cx:pt>
          <cx:pt idx="1622">1.0412580273735677</cx:pt>
          <cx:pt idx="1623">1.0463418097331771</cx:pt>
          <cx:pt idx="1624">1.0331341812945407</cx:pt>
          <cx:pt idx="1625">1.0371659068247332</cx:pt>
          <cx:pt idx="1626">1.0494661213135692</cx:pt>
          <cx:pt idx="1627">1.0631034908502865</cx:pt>
          <cx:pt idx="1628">1.0348293714216805</cx:pt>
          <cx:pt idx="1629">1.0581268700483324</cx:pt>
          <cx:pt idx="1630">1.0544989127492015</cx:pt>
          <cx:pt idx="1631">1.0532061649109603</cx:pt>
          <cx:pt idx="1632">1.0607097441290543</cx:pt>
          <cx:pt idx="1633">1.0559915077859909</cx:pt>
          <cx:pt idx="1634">1.056665886502884</cx:pt>
          <cx:pt idx="1635">1.0558516920945504</cx:pt>
          <cx:pt idx="1636">1.0398360085759597</cx:pt>
          <cx:pt idx="1637">1.0142546391899225</cx:pt>
          <cx:pt idx="1638">1.0564372058444707</cx:pt>
          <cx:pt idx="1639">1.0467152923435321</cx:pt>
          <cx:pt idx="1640">1.0371457939216946</cx:pt>
          <cx:pt idx="1641">1.0197701617500381</cx:pt>
          <cx:pt idx="1642">1.0304864703582468</cx:pt>
          <cx:pt idx="1643">1.0002849056509442</cx:pt>
          <cx:pt idx="1644">1.0506168183142375</cx:pt>
          <cx:pt idx="1645">1.0056340213746933</cx:pt>
          <cx:pt idx="1646">1.01455366530556</cx:pt>
          <cx:pt idx="1647">0.98006605000152502</cx:pt>
          <cx:pt idx="1648">1.0059010832320003</cx:pt>
          <cx:pt idx="1649">1.0292352312714148</cx:pt>
          <cx:pt idx="1650">1.0291692024695587</cx:pt>
          <cx:pt idx="1651">1.036748432276585</cx:pt>
          <cx:pt idx="1652">1.0541255357694785</cx:pt>
          <cx:pt idx="1653">1.0366447115885538</cx:pt>
          <cx:pt idx="1654">1.0381994338835523</cx:pt>
          <cx:pt idx="1655">1.0773038828083645</cx:pt>
          <cx:pt idx="1656">1.0987665616450324</cx:pt>
          <cx:pt idx="1657">1.0602277093619674</cx:pt>
          <cx:pt idx="1658">1.0690943810996876</cx:pt>
          <cx:pt idx="1659">1.0992448043020016</cx:pt>
          <cx:pt idx="1660">1.0973486130189543</cx:pt>
          <cx:pt idx="1661">1.0942411324356154</cx:pt>
          <cx:pt idx="1662">1.0956806692792647</cx:pt>
          <cx:pt idx="1663">1.1011262074490744</cx:pt>
          <cx:pt idx="1664">1.1481338762746534</cx:pt>
          <cx:pt idx="1665">1.1739073620280496</cx:pt>
          <cx:pt idx="1666">1.2112803143781372</cx:pt>
          <cx:pt idx="1667">1.1934381524217803</cx:pt>
          <cx:pt idx="1668">1.1985719100896335</cx:pt>
          <cx:pt idx="1669">1.1717557821078695</cx:pt>
          <cx:pt idx="1670">1.2445829288025232</cx:pt>
          <cx:pt idx="1671">1.3370489089581714</cx:pt>
          <cx:pt idx="1672">1.3366496392340499</cx:pt>
          <cx:pt idx="1673">1.3547776867977863</cx:pt>
          <cx:pt idx="1674">1.3562368080722085</cx:pt>
          <cx:pt idx="1675">1.3670976241580173</cx:pt>
          <cx:pt idx="1676">1.3888732959698176</cx:pt>
          <cx:pt idx="1677">1.3669463652943366</cx:pt>
          <cx:pt idx="1678">1.3703380008447332</cx:pt>
          <cx:pt idx="1679">1.3507094113755536</cx:pt>
          <cx:pt idx="1680">1.3967130384685169</cx:pt>
          <cx:pt idx="1681">1.3963158129385935</cx:pt>
          <cx:pt idx="1682">1.382033642588816</cx:pt>
          <cx:pt idx="1683">1.3870769916068688</cx:pt>
          <cx:pt idx="1684">1.3864489334848544</cx:pt>
          <cx:pt idx="1685">1.3841261363366859</cx:pt>
          <cx:pt idx="1686">1.376381026890009</cx:pt>
          <cx:pt idx="1687">1.3716778047340417</cx:pt>
          <cx:pt idx="1688">1.3506306770566305</cx:pt>
          <cx:pt idx="1689">1.3960149889819831</cx:pt>
          <cx:pt idx="1690">1.3075013517951852</cx:pt>
          <cx:pt idx="1691">1.319495912220114</cx:pt>
          <cx:pt idx="1692">1.3236626442182784</cx:pt>
          <cx:pt idx="1693">1.2985831816136741</cx:pt>
          <cx:pt idx="1694">1.2917768041840498</cx:pt>
          <cx:pt idx="1695">1.1931117713461432</cx:pt>
          <cx:pt idx="1696">1.1036471307656777</cx:pt>
          <cx:pt idx="1697">0.9854345692751908</cx:pt>
          <cx:pt idx="1698">0.97828553124594519</cx:pt>
          <cx:pt idx="1699">0.91618658004926334</cx:pt>
          <cx:pt idx="1700">0.85353257082689293</cx:pt>
          <cx:pt idx="1701">0.85812198045110855</cx:pt>
          <cx:pt idx="1702">0.83950523063174787</cx:pt>
          <cx:pt idx="1703">0.85255668622432701</cx:pt>
          <cx:pt idx="1704">0.86969479258994298</cx:pt>
          <cx:pt idx="1705">0.86059419332888665</cx:pt>
          <cx:pt idx="1706">0.85040458429458543</cx:pt>
          <cx:pt idx="1707">0.86632557390394471</cx:pt>
          <cx:pt idx="1708">0.85258733352679006</cx:pt>
          <cx:pt idx="1709">0.87826123431409897</cx:pt>
          <cx:pt idx="1710">0.89707457644218436</cx:pt>
          <cx:pt idx="1711">0.87250375110879863</cx:pt>
          <cx:pt idx="1712">0.87122111806311231</cx:pt>
          <cx:pt idx="1713">0.98055404571045401</cx:pt>
          <cx:pt idx="1714">1.0737614520525391</cx:pt>
          <cx:pt idx="1715">1.0710572608007367</cx:pt>
          <cx:pt idx="1716">1.0650363212545368</cx:pt>
          <cx:pt idx="1717">1.0646187666388232</cx:pt>
          <cx:pt idx="1718">1.1186714470529815</cx:pt>
          <cx:pt idx="1719">1.1191802875895513</cx:pt>
          <cx:pt idx="1720">1.1270429479179631</cx:pt>
          <cx:pt idx="1721">1.1308926914477306</cx:pt>
          <cx:pt idx="1722">1.1227855146144148</cx:pt>
          <cx:pt idx="1723">1.1706544442989948</cx:pt>
          <cx:pt idx="1724">1.2707349494792202</cx:pt>
          <cx:pt idx="1725">1.2979467656462695</cx:pt>
          <cx:pt idx="1726">1.2801290257550775</cx:pt>
          <cx:pt idx="1727">1.2644070394023916</cx:pt>
          <cx:pt idx="1728">1.264651594674983</cx:pt>
          <cx:pt idx="1729">1.2480691323559698</cx:pt>
          <cx:pt idx="1730">1.268880803946397</cx:pt>
          <cx:pt idx="1731">1.304961747060166</cx:pt>
          <cx:pt idx="1732">1.3264501093041976</cx:pt>
          <cx:pt idx="1733">1.3264061720805331</cx:pt>
          <cx:pt idx="1734">1.3439306017669177</cx:pt>
          <cx:pt idx="1735">1.356145867118735</cx:pt>
          <cx:pt idx="1736">1.345663045586845</cx:pt>
          <cx:pt idx="1737">1.3466555945462002</cx:pt>
          <cx:pt idx="1738">1.3137720461508193</cx:pt>
          <cx:pt idx="1739">1.3188522217427161</cx:pt>
          <cx:pt idx="1740">1.2922991098222232</cx:pt>
          <cx:pt idx="1741">1.3430375618251031</cx:pt>
          <cx:pt idx="1742">1.326280189019253</cx:pt>
          <cx:pt idx="1743">1.3284078108126118</cx:pt>
          <cx:pt idx="1744">1.3257093049723689</cx:pt>
          <cx:pt idx="1745">1.2986466901380265</cx:pt>
          <cx:pt idx="1746">1.2748578668405199</cx:pt>
          <cx:pt idx="1747">1.2688208902807765</cx:pt>
          <cx:pt idx="1748">1.2418440156234534</cx:pt>
          <cx:pt idx="1749">1.2366321764311914</cx:pt>
          <cx:pt idx="1750">1.1961726598857139</cx:pt>
          <cx:pt idx="1751">1.1934232860912948</cx:pt>
          <cx:pt idx="1752">1.199214976198923</cx:pt>
          <cx:pt idx="1753">1.1892411965854162</cx:pt>
          <cx:pt idx="1754">1.1771511993947752</cx:pt>
          <cx:pt idx="1755">1.1436433010340237</cx:pt>
          <cx:pt idx="1756">1.1424038040959517</cx:pt>
          <cx:pt idx="1757">1.154727543156709</cx:pt>
          <cx:pt idx="1758">1.1267026780527245</cx:pt>
          <cx:pt idx="1759">1.1298316555542567</cx:pt>
          <cx:pt idx="1760">1.1142303385350025</cx:pt>
          <cx:pt idx="1761">1.0452825928545495</cx:pt>
          <cx:pt idx="1762">1.0703452362351042</cx:pt>
          <cx:pt idx="1763">1.0357810413361486</cx:pt>
          <cx:pt idx="1764">1.0539778210720689</cx:pt>
          <cx:pt idx="1765">1.0534644331100862</cx:pt>
          <cx:pt idx="1766">1.0378270309818285</cx:pt>
          <cx:pt idx="1767">1.0380024240135772</cx:pt>
          <cx:pt idx="1768">1.0425735321273368</cx:pt>
          <cx:pt idx="1769">0.99531018561622098</cx:pt>
          <cx:pt idx="1770">0.97780168185182414</cx:pt>
          <cx:pt idx="1771">0.98656556442196164</cx:pt>
          <cx:pt idx="1772">0.94987141178410517</cx:pt>
          <cx:pt idx="1773">0.93593941077676557</cx:pt>
          <cx:pt idx="1774">1.0109446237346842</cx:pt>
          <cx:pt idx="1775">1.0223520215238859</cx:pt>
          <cx:pt idx="1776">1.0285278131220319</cx:pt>
          <cx:pt idx="1777">1.0210023537933743</cx:pt>
          <cx:pt idx="1778">1.0644207875193081</cx:pt>
          <cx:pt idx="1779">1.0708343646704368</cx:pt>
          <cx:pt idx="1780">1.0788896123788212</cx:pt>
          <cx:pt idx="1781">1.1220575378649564</cx:pt>
          <cx:pt idx="1782">1.1294262507636239</cx:pt>
          <cx:pt idx="1783">1.1596772817682774</cx:pt>
          <cx:pt idx="1784">1.1212027911688098</cx:pt>
          <cx:pt idx="1785">1.1458588364708278</cx:pt>
          <cx:pt idx="1786">1.1397037909837779</cx:pt>
          <cx:pt idx="1787">1.1701844354217097</cx:pt>
          <cx:pt idx="1788">1.152814974569379</cx:pt>
          <cx:pt idx="1789">1.2128669492401629</cx:pt>
          <cx:pt idx="1790">1.2410301825413013</cx:pt>
          <cx:pt idx="1791">1.240008064489905</cx:pt>
          <cx:pt idx="1792">1.2404726813268723</cx:pt>
          <cx:pt idx="1793">1.232078757432385</cx:pt>
          <cx:pt idx="1794">1.2287465420159398</cx:pt>
          <cx:pt idx="1795">1.2523787259125254</cx:pt>
          <cx:pt idx="1796">1.2495805747942894</cx:pt>
          <cx:pt idx="1797">1.2308030423395366</cx:pt>
          <cx:pt idx="1798">1.2290610980727119</cx:pt>
          <cx:pt idx="1799">1.2695064657837183</cx:pt>
          <cx:pt idx="1800">1.2966183477742967</cx:pt>
          <cx:pt idx="1801">1.3164753365817217</cx:pt>
          <cx:pt idx="1802">1.2850328643134352</cx:pt>
          <cx:pt idx="1803">1.3192592414823401</cx:pt>
          <cx:pt idx="1804">1.3058428662736761</cx:pt>
          <cx:pt idx="1805">1.2747872687806239</cx:pt>
          <cx:pt idx="1806">1.2536516982978814</cx:pt>
          <cx:pt idx="1807">1.2584777457544256</cx:pt>
          <cx:pt idx="1808">1.2672714741709104</cx:pt>
          <cx:pt idx="1809">1.2129571968088253</cx:pt>
          <cx:pt idx="1810">1.2371582943024271</cx:pt>
          <cx:pt idx="1811">1.2540349500368717</cx:pt>
          <cx:pt idx="1812">1.2307654755939408</cx:pt>
          <cx:pt idx="1813">1.2285802628911111</cx:pt>
          <cx:pt idx="1814">1.2042132130007508</cx:pt>
          <cx:pt idx="1815">1.2036693004917245</cx:pt>
          <cx:pt idx="1816">1.1833228229125838</cx:pt>
          <cx:pt idx="1817">1.2290893560523948</cx:pt>
          <cx:pt idx="1818">1.2345376566984303</cx:pt>
          <cx:pt idx="1819">1.2713541168071862</cx:pt>
          <cx:pt idx="1820">1.1948812871254533</cx:pt>
          <cx:pt idx="1821">1.1724815150891743</cx:pt>
          <cx:pt idx="1822">1.1830239183540834</cx:pt>
          <cx:pt idx="1823">1.1459372836523454</cx:pt>
          <cx:pt idx="1824">1.1038009599288199</cx:pt>
          <cx:pt idx="1825">1.1040904396491849</cx:pt>
          <cx:pt idx="1826">1.0859457995544217</cx:pt>
          <cx:pt idx="1827">1.1078235952892361</cx:pt>
          <cx:pt idx="1828">1.1635388178505952</cx:pt>
          <cx:pt idx="1829">1.168810718047903</cx:pt>
          <cx:pt idx="1830">1.1610001250312509</cx:pt>
          <cx:pt idx="1831">1.1290686998727122</cx:pt>
          <cx:pt idx="1832">1.0976046255271037</cx:pt>
          <cx:pt idx="1833">1.127714026130376</cx:pt>
          <cx:pt idx="1834">1.1522867400012875</cx:pt>
          <cx:pt idx="1835">1.1550962348774048</cx:pt>
          <cx:pt idx="1836">1.1271612453940556</cx:pt>
          <cx:pt idx="1837">1.1215701359667494</cx:pt>
          <cx:pt idx="1838">1.1381165350313769</cx:pt>
          <cx:pt idx="1839">1.1628984922278496</cx:pt>
          <cx:pt idx="1840">1.1726420862162468</cx:pt>
          <cx:pt idx="1841">1.1318875661326044</cx:pt>
          <cx:pt idx="1842">1.0848033368172743</cx:pt>
          <cx:pt idx="1843">1.0861299551940793</cx:pt>
          <cx:pt idx="1844">1.1029103240044946</cx:pt>
          <cx:pt idx="1845">1.1039019747660901</cx:pt>
          <cx:pt idx="1846">1.1194711693137662</cx:pt>
          <cx:pt idx="1847">1.1319828449629097</cx:pt>
          <cx:pt idx="1848">1.1018351261242718</cx:pt>
          <cx:pt idx="1849">1.100914575807681</cx:pt>
          <cx:pt idx="1850">1.0305839246788449</cx:pt>
          <cx:pt idx="1851">1.055080387295638</cx:pt>
          <cx:pt idx="1852">1.0639351787191398</cx:pt>
          <cx:pt idx="1853">1.074406362722254</cx:pt>
          <cx:pt idx="1854">1.0804168848927203</cx:pt>
          <cx:pt idx="1855">1.0817460994410439</cx:pt>
          <cx:pt idx="1856">1.0810102801576171</cx:pt>
          <cx:pt idx="1857">1.1098332723761335</cx:pt>
          <cx:pt idx="1858">1.0688794252891438</cx:pt>
          <cx:pt idx="1859">1.0400858111827385</cx:pt>
          <cx:pt idx="1860">1.0503783240603897</cx:pt>
          <cx:pt idx="1861">1.1485683468178227</cx:pt>
          <cx:pt idx="1862">1.2050891190888062</cx:pt>
          <cx:pt idx="1863">1.2608136986865657</cx:pt>
          <cx:pt idx="1864">1.2773054635880281</cx:pt>
          <cx:pt idx="1865">1.3047524381012601</cx:pt>
          <cx:pt idx="1866">1.2940256433283683</cx:pt>
          <cx:pt idx="1867">1.3363669253389145</cx:pt>
          <cx:pt idx="1868">1.3617242390534898</cx:pt>
          <cx:pt idx="1869">1.2843374091901085</cx:pt>
          <cx:pt idx="1870">1.2814007792214137</cx:pt>
          <cx:pt idx="1871">1.3005708424107587</cx:pt>
          <cx:pt idx="1872">1.326744986070991</cx:pt>
          <cx:pt idx="1873">1.3603586655454984</cx:pt>
          <cx:pt idx="1874">1.3607151029505946</cx:pt>
          <cx:pt idx="1875">1.353031641779272</cx:pt>
          <cx:pt idx="1876">1.3516965842651141</cx:pt>
          <cx:pt idx="1877">1.3114669616112515</cx:pt>
          <cx:pt idx="1878">1.3520273109158574</cx:pt>
          <cx:pt idx="1879">1.3869952826085938</cx:pt>
          <cx:pt idx="1880">1.4021886885435813</cx:pt>
          <cx:pt idx="1881">1.3904022006491106</cx:pt>
          <cx:pt idx="1882">1.3492314817694728</cx:pt>
          <cx:pt idx="1883">1.2791064589522374</cx:pt>
          <cx:pt idx="1884">1.2285456915105073</cx:pt>
          <cx:pt idx="1885">1.1933254339859887</cx:pt>
          <cx:pt idx="1886">1.1047188130533387</cx:pt>
          <cx:pt idx="1887">1.076106682163924</cx:pt>
          <cx:pt idx="1888">0.88175094623300232</cx:pt>
          <cx:pt idx="1889">0.87858928959152782</cx:pt>
          <cx:pt idx="1890">0.84547219103081761</cx:pt>
          <cx:pt idx="1891">0.83154151449135727</cx:pt>
          <cx:pt idx="1892">0.84621675456051115</cx:pt>
          <cx:pt idx="1893">0.83531901059557201</cx:pt>
          <cx:pt idx="1894">0.88585806771120645</cx:pt>
          <cx:pt idx="1895">0.91198471973616846</cx:pt>
          <cx:pt idx="1896">0.91075580098743147</cx:pt>
          <cx:pt idx="1897">0.91999614304941846</cx:pt>
          <cx:pt idx="1898">0.9072328244995671</cx:pt>
          <cx:pt idx="1899">0.91391418622589848</cx:pt>
          <cx:pt idx="1900">0.91325602058775668</cx:pt>
          <cx:pt idx="1901">1.0664698071030259</cx:pt>
          <cx:pt idx="1902">1.0973330328328934</cx:pt>
          <cx:pt idx="1903">1.152199859455395</cx:pt>
          <cx:pt idx="1904">1.1360896905377835</cx:pt>
          <cx:pt idx="1905">1.282988279264929</cx:pt>
          <cx:pt idx="1906">1.283443117773102</cx:pt>
          <cx:pt idx="1907">1.3053415488445106</cx:pt>
          <cx:pt idx="1908">1.3670747358258559</cx:pt>
          <cx:pt idx="1909">1.4059894155217316</cx:pt>
          <cx:pt idx="1910">1.3867440786911427</cx:pt>
          <cx:pt idx="1911">1.3814004892962641</cx:pt>
          <cx:pt idx="1912">1.3707414993588385</cx:pt>
          <cx:pt idx="1913">1.3412822464030938</cx:pt>
          <cx:pt idx="1914">1.3867200413631728</cx:pt>
          <cx:pt idx="1915">1.385290233943077</cx:pt>
          <cx:pt idx="1916">1.317346795891333</cx:pt>
          <cx:pt idx="1917">1.2645018569525945</cx:pt>
          <cx:pt idx="1918">1.2324170673749162</cx:pt>
          <cx:pt idx="1919">1.2832016410575944</cx:pt>
          <cx:pt idx="1920">1.3225830055053684</cx:pt>
          <cx:pt idx="1921">1.3437861773074542</cx:pt>
          <cx:pt idx="1922">1.2842276453811805</cx:pt>
          <cx:pt idx="1923">1.2904803640088733</cx:pt>
          <cx:pt idx="1924">1.2598933219902781</cx:pt>
          <cx:pt idx="1925">1.2792545712501933</cx:pt>
          <cx:pt idx="1926">1.3069326314794525</cx:pt>
          <cx:pt idx="1927">1.2909269821017295</cx:pt>
          <cx:pt idx="1928">1.331417709916602</cx:pt>
          <cx:pt idx="1929">1.3129919866431958</cx:pt>
          <cx:pt idx="1930">1.3059452968174314</cx:pt>
          <cx:pt idx="1931">1.2309149495002585</cx:pt>
          <cx:pt idx="1932">1.2247932456637958</cx:pt>
          <cx:pt idx="1933">1.2476904254860102</cx:pt>
          <cx:pt idx="1934">1.2441939135937188</cx:pt>
          <cx:pt idx="1935">1.223532959599293</cx:pt>
          <cx:pt idx="1936">1.2250716898048408</cx:pt>
          <cx:pt idx="1937">1.2212011538090335</cx:pt>
          <cx:pt idx="1938">1.2481477890161101</cx:pt>
          <cx:pt idx="1939">1.277584161737527</cx:pt>
          <cx:pt idx="1940">1.2558163176420001</cx:pt>
          <cx:pt idx="1941">1.2529002912382712</cx:pt>
          <cx:pt idx="1942">1.2848614836853283</cx:pt>
          <cx:pt idx="1943">1.3008606745626738</cx:pt>
          <cx:pt idx="1944">1.2848417332768622</cx:pt>
          <cx:pt idx="1945">1.250199811987057</cx:pt>
          <cx:pt idx="1946">1.2628511861179721</cx:pt>
          <cx:pt idx="1947">1.2629447582398805</cx:pt>
          <cx:pt idx="1948">1.2580762751035781</cx:pt>
          <cx:pt idx="1949">1.2368019808299733</cx:pt>
          <cx:pt idx="1950">1.2172676965899036</cx:pt>
          <cx:pt idx="1951">1.188626477589072</cx:pt>
          <cx:pt idx="1952">1.1343074245253499</cx:pt>
          <cx:pt idx="1953">1.1319808501742816</cx:pt>
          <cx:pt idx="1954">1.1147659959859069</cx:pt>
          <cx:pt idx="1955">1.1396715240786259</cx:pt>
          <cx:pt idx="1956">1.1424768414866591</cx:pt>
          <cx:pt idx="1957">1.1112093576635951</cx:pt>
          <cx:pt idx="1958">1.1188192700967323</cx:pt>
          <cx:pt idx="1959">1.0933948317348663</cx:pt>
          <cx:pt idx="1960">1.1046540839381755</cx:pt>
          <cx:pt idx="1961">1.1005677908995841</cx:pt>
          <cx:pt idx="1962">1.0906507872756275</cx:pt>
          <cx:pt idx="1963">1.1027082984170609</cx:pt>
          <cx:pt idx="1964">1.1250865677565602</cx:pt>
          <cx:pt idx="1965">1.1315372548616263</cx:pt>
          <cx:pt idx="1966">1.1322102278287369</cx:pt>
          <cx:pt idx="1967">1.1267343620306634</cx:pt>
          <cx:pt idx="1968">1.094058931793237</cx:pt>
          <cx:pt idx="1969">1.0895509581119098</cx:pt>
          <cx:pt idx="1970">1.0272385992479771</cx:pt>
          <cx:pt idx="1971">1.0382513214302271</cx:pt>
          <cx:pt idx="1972">1.0496411060990816</cx:pt>
          <cx:pt idx="1973">1.0397755134064131</cx:pt>
          <cx:pt idx="1974">1.0995616917565352</cx:pt>
          <cx:pt idx="1975">1.080431017138854</cx:pt>
          <cx:pt idx="1976">1.0864112768033984</cx:pt>
          <cx:pt idx="1977">1.0705747627235778</cx:pt>
          <cx:pt idx="1978">1.0830518410134302</cx:pt>
          <cx:pt idx="1979">1.0923237536535122</cx:pt>
          <cx:pt idx="1980">1.0919545462988813</cx:pt>
          <cx:pt idx="1981">1.0792368869087621</cx:pt>
          <cx:pt idx="1982">1.1095817288074032</cx:pt>
          <cx:pt idx="1983">1.1098223242473766</cx:pt>
          <cx:pt idx="1984">1.1198892034290666</cx:pt>
          <cx:pt idx="1985">1.1305484443164016</cx:pt>
          <cx:pt idx="1986">1.0572388464744491</cx:pt>
          <cx:pt idx="1987">1.0630549404671488</cx:pt>
          <cx:pt idx="1988">1.0807203889719974</cx:pt>
          <cx:pt idx="1989">1.0811252600679484</cx:pt>
          <cx:pt idx="1990">1.0198933108866821</cx:pt>
          <cx:pt idx="1991">0.99743596016168168</cx:pt>
          <cx:pt idx="1992">1.0689177523506297</cx:pt>
          <cx:pt idx="1993">1.0309548763109115</cx:pt>
          <cx:pt idx="1994">1.045580766743988</cx:pt>
          <cx:pt idx="1995">1.0634395403190435</cx:pt>
          <cx:pt idx="1996">1.0582138532167233</cx:pt>
          <cx:pt idx="1997">1.0534875006275559</cx:pt>
          <cx:pt idx="1998">1.021135147395932</cx:pt>
          <cx:pt idx="1999">1.047609773035332</cx:pt>
          <cx:pt idx="2000">1.0375254887398895</cx:pt>
          <cx:pt idx="2001">1.0978517635016378</cx:pt>
          <cx:pt idx="2002">1.0945035698964753</cx:pt>
          <cx:pt idx="2003">1.0830804336735345</cx:pt>
          <cx:pt idx="2004">1.0723849413179913</cx:pt>
          <cx:pt idx="2005">1.026420023438811</cx:pt>
          <cx:pt idx="2006">1.0143330877493972</cx:pt>
          <cx:pt idx="2007">1.0565900721874883</cx:pt>
          <cx:pt idx="2008">1.1226293062003081</cx:pt>
          <cx:pt idx="2009">1.1302783937206922</cx:pt>
          <cx:pt idx="2010">1.1255460801293848</cx:pt>
          <cx:pt idx="2011">1.1430744244295499</cx:pt>
          <cx:pt idx="2012">1.1440728978954642</cx:pt>
          <cx:pt idx="2013">1.1170543060123106</cx:pt>
          <cx:pt idx="2014">1.1447959859566095</cx:pt>
          <cx:pt idx="2015">1.1750684262848752</cx:pt>
          <cx:pt idx="2016">1.1732903828893535</cx:pt>
          <cx:pt idx="2017">1.1741740634091677</cx:pt>
          <cx:pt idx="2018">1.1924294348049478</cx:pt>
          <cx:pt idx="2019">1.2042355358510444</cx:pt>
          <cx:pt idx="2020">1.2162279073350708</cx:pt>
          <cx:pt idx="2021">1.2545967093954162</cx:pt>
          <cx:pt idx="2022">1.2533134578611669</cx:pt>
          <cx:pt idx="2023">1.2451562064635202</cx:pt>
          <cx:pt idx="2024">1.249991139753545</cx:pt>
          <cx:pt idx="2025">1.2777035851921619</cx:pt>
          <cx:pt idx="2026">1.2730324477024244</cx:pt>
          <cx:pt idx="2027">1.273531032335915</cx:pt>
          <cx:pt idx="2028">1.2791438669117972</cx:pt>
          <cx:pt idx="2029">1.279867432651246</cx:pt>
          <cx:pt idx="2030">1.2308159720239449</cx:pt>
          <cx:pt idx="2031">1.2320997899817687</cx:pt>
          <cx:pt idx="2032">1.2500660627704137</cx:pt>
          <cx:pt idx="2033">1.2404377479146682</cx:pt>
          <cx:pt idx="2034">1.241314946215877</cx:pt>
          <cx:pt idx="2035">1.2674840034196613</cx:pt>
          <cx:pt idx="2036">1.2685348419185383</cx:pt>
          <cx:pt idx="2037">1.268833432555232</cx:pt>
          <cx:pt idx="2038">1.1879666372347315</cx:pt>
          <cx:pt idx="2039">1.1803617998286051</cx:pt>
          <cx:pt idx="2040">1.2013802993456795</cx:pt>
          <cx:pt idx="2041">1.2157822385661439</cx:pt>
          <cx:pt idx="2042">1.2496535433849751</cx:pt>
          <cx:pt idx="2043">1.2550919942293055</cx:pt>
          <cx:pt idx="2044">1.2578677982401261</cx:pt>
          <cx:pt idx="2045">1.2590301780526596</cx:pt>
          <cx:pt idx="2046">1.1845276723030209</cx:pt>
          <cx:pt idx="2047">1.1258680760778248</cx:pt>
          <cx:pt idx="2048">1.1517160641725537</cx:pt>
          <cx:pt idx="2049">1.1015880033080689</cx:pt>
          <cx:pt idx="2050">1.0895863869485776</cx:pt>
          <cx:pt idx="2051">1.1121956391682835</cx:pt>
          <cx:pt idx="2052">1.1098617563821045</cx:pt>
          <cx:pt idx="2053">1.1240386095232335</cx:pt>
          <cx:pt idx="2054">1.1679874244425381</cx:pt>
          <cx:pt idx="2055">1.1583140324840506</cx:pt>
          <cx:pt idx="2056">1.1787620625045585</cx:pt>
          <cx:pt idx="2057">1.1755394094737135</cx:pt>
          <cx:pt idx="2058">1.1754345798949866</cx:pt>
          <cx:pt idx="2059">1.1726740877707806</cx:pt>
          <cx:pt idx="2060">1.1851147578387977</cx:pt>
          <cx:pt idx="2061">1.2049541998167046</cx:pt>
          <cx:pt idx="2062">1.2245488087235381</cx:pt>
          <cx:pt idx="2063">1.1872682116740148</cx:pt>
          <cx:pt idx="2064">1.1668897175411332</cx:pt>
          <cx:pt idx="2065">1.1661519294588703</cx:pt>
          <cx:pt idx="2066">1.1332834587381317</cx:pt>
          <cx:pt idx="2067">1.1545186587203056</cx:pt>
          <cx:pt idx="2068">1.1457507282052219</cx:pt>
          <cx:pt idx="2069">1.2109080392704861</cx:pt>
          <cx:pt idx="2070">1.210231915924622</cx:pt>
          <cx:pt idx="2071">1.1698197637114416</cx:pt>
          <cx:pt idx="2072">1.1647459458094589</cx:pt>
          <cx:pt idx="2073">1.1183555515957111</cx:pt>
          <cx:pt idx="2074">1.1260443659014929</cx:pt>
          <cx:pt idx="2075">1.1153456477605921</cx:pt>
          <cx:pt idx="2076">1.110603730032135</cx:pt>
          <cx:pt idx="2077">1.1127137223729155</cx:pt>
          <cx:pt idx="2078">1.1364870415886517</cx:pt>
          <cx:pt idx="2079">1.1194104631216546</cx:pt>
          <cx:pt idx="2080">1.0894168312716972</cx:pt>
          <cx:pt idx="2081">1.0594381753136088</cx:pt>
          <cx:pt idx="2082">1.0542911801172954</cx:pt>
          <cx:pt idx="2083">1.0087655609651078</cx:pt>
          <cx:pt idx="2084">1.0342010578011369</cx:pt>
          <cx:pt idx="2085">1.029527712996575</cx:pt>
          <cx:pt idx="2086">1.0869956623153905</cx:pt>
          <cx:pt idx="2087">1.0585845692822948</cx:pt>
          <cx:pt idx="2088">1.0764468632786139</cx:pt>
          <cx:pt idx="2089">1.0858003341275038</cx:pt>
          <cx:pt idx="2090">1.076611070837312</cx:pt>
          <cx:pt idx="2091">1.0582028790989628</cx:pt>
          <cx:pt idx="2092">0.99987579873863697</cx:pt>
          <cx:pt idx="2093">0.98484090740749952</cx:pt>
          <cx:pt idx="2094">1.0181890945487806</cx:pt>
          <cx:pt idx="2095">1.0263985475898847</cx:pt>
          <cx:pt idx="2096">1.0306502801629664</cx:pt>
          <cx:pt idx="2097">1.0767525848737298</cx:pt>
          <cx:pt idx="2098">1.0435176243159794</cx:pt>
          <cx:pt idx="2099">1.0635847277571637</cx:pt>
          <cx:pt idx="2100">1.0214158421429766</cx:pt>
          <cx:pt idx="2101">1.0106332519230079</cx:pt>
          <cx:pt idx="2102">1.0239103833433278</cx:pt>
          <cx:pt idx="2103">1.0336013873621637</cx:pt>
          <cx:pt idx="2104">1.0219162897350287</cx:pt>
          <cx:pt idx="2105">1.0105191894556311</cx:pt>
          <cx:pt idx="2106">1.0134161327236297</cx:pt>
          <cx:pt idx="2107">1.0375744046386706</cx:pt>
          <cx:pt idx="2108">1.0524364972031151</cx:pt>
          <cx:pt idx="2109">1.0270757110014008</cx:pt>
          <cx:pt idx="2110">1.0519021173646006</cx:pt>
          <cx:pt idx="2111">1.0745305551628095</cx:pt>
          <cx:pt idx="2112">1.113577978400478</cx:pt>
          <cx:pt idx="2113">1.0879374784376388</cx:pt>
          <cx:pt idx="2114">1.1267115534737291</cx:pt>
          <cx:pt idx="2115">1.0993091672324447</cx:pt>
          <cx:pt idx="2116">1.0668086263061856</cx:pt>
          <cx:pt idx="2117">1.0408097550640845</cx:pt>
          <cx:pt idx="2118">1.0709331675984106</cx:pt>
          <cx:pt idx="2119">1.0561694837925508</cx:pt>
          <cx:pt idx="2120">1.0985643612979525</cx:pt>
          <cx:pt idx="2121">1.1008447391821186</cx:pt>
          <cx:pt idx="2122">1.0970277537387643</cx:pt>
          <cx:pt idx="2123">1.1180315843731401</cx:pt>
          <cx:pt idx="2124">1.1534403890894387</cx:pt>
          <cx:pt idx="2125">1.1428174013827521</cx:pt>
          <cx:pt idx="2126">1.1715252442220199</cx:pt>
          <cx:pt idx="2127">1.1721033386861162</cx:pt>
          <cx:pt idx="2128">1.1319884493502426</cx:pt>
          <cx:pt idx="2129">1.1368889827682322</cx:pt>
          <cx:pt idx="2130">1.1366907259459864</cx:pt>
          <cx:pt idx="2131">1.1106150577277503</cx:pt>
          <cx:pt idx="2132">1.1298633469564803</cx:pt>
          <cx:pt idx="2133">1.1514937470357218</cx:pt>
          <cx:pt idx="2134">1.1817798677900972</cx:pt>
          <cx:pt idx="2135">1.1766273105605658</cx:pt>
          <cx:pt idx="2136">1.1880696370018016</cx:pt>
          <cx:pt idx="2137">1.2107970359914135</cx:pt>
          <cx:pt idx="2138">1.2048089127031858</cx:pt>
          <cx:pt idx="2139">1.1876134014896642</cx:pt>
          <cx:pt idx="2140">1.1826322927203314</cx:pt>
          <cx:pt idx="2141">1.1942680306498445</cx:pt>
          <cx:pt idx="2142">1.1749381132180849</cx:pt>
          <cx:pt idx="2143">1.1306502078331384</cx:pt>
          <cx:pt idx="2144">1.13405078492795</cx:pt>
          <cx:pt idx="2145">1.124752876083482</cx:pt>
          <cx:pt idx="2146">1.1542239398079588</cx:pt>
          <cx:pt idx="2147">1.1808102740177215</cx:pt>
          <cx:pt idx="2148">1.1889173714472476</cx:pt>
          <cx:pt idx="2149">1.1434135838164226</cx:pt>
          <cx:pt idx="2150">1.1335372365593763</cx:pt>
          <cx:pt idx="2151">1.1058295188369602</cx:pt>
          <cx:pt idx="2152">1.1492834607346789</cx:pt>
          <cx:pt idx="2153">1.2075066285799498</cx:pt>
          <cx:pt idx="2154">1.2052673821047313</cx:pt>
          <cx:pt idx="2155">1.1966444122889501</cx:pt>
          <cx:pt idx="2156">1.2179927962073109</cx:pt>
          <cx:pt idx="2157">1.1783902816613769</cx:pt>
          <cx:pt idx="2158">1.1770826886476495</cx:pt>
          <cx:pt idx="2159">1.2023033449730289</cx:pt>
          <cx:pt idx="2160">1.2567708236690598</cx:pt>
          <cx:pt idx="2161">1.2552195541148403</cx:pt>
          <cx:pt idx="2162">1.2492630946161394</cx:pt>
          <cx:pt idx="2163">1.2605870794777474</cx:pt>
          <cx:pt idx="2164">1.2609657503897218</cx:pt>
          <cx:pt idx="2165">1.2447568316311717</cx:pt>
          <cx:pt idx="2166">1.2577594860430124</cx:pt>
          <cx:pt idx="2167">1.2494979636999504</cx:pt>
          <cx:pt idx="2168">1.2397724383630775</cx:pt>
          <cx:pt idx="2169">1.2003974252282548</cx:pt>
          <cx:pt idx="2170">1.2024219287020907</cx:pt>
          <cx:pt idx="2171">1.2231866543573182</cx:pt>
          <cx:pt idx="2172">1.2311200425384135</cx:pt>
          <cx:pt idx="2173">1.2314542500200618</cx:pt>
          <cx:pt idx="2174">1.2401309330803725</cx:pt>
          <cx:pt idx="2175">1.2989351304504315</cx:pt>
          <cx:pt idx="2176">1.3000287010892926</cx:pt>
          <cx:pt idx="2177">1.2859698653637477</cx:pt>
          <cx:pt idx="2178">1.2629077218777678</cx:pt>
          <cx:pt idx="2179">1.2262242072523328</cx:pt>
          <cx:pt idx="2180">1.2306358178311858</cx:pt>
          <cx:pt idx="2181">1.260290545098437</cx:pt>
          <cx:pt idx="2182">1.2748291051399114</cx:pt>
          <cx:pt idx="2183">1.2443441075781712</cx:pt>
          <cx:pt idx="2184">1.2211535177767348</cx:pt>
          <cx:pt idx="2185">1.1935988771651436</cx:pt>
          <cx:pt idx="2186">1.2197586576022725</cx:pt>
          <cx:pt idx="2187">1.1835020022151674</cx:pt>
          <cx:pt idx="2188">1.2442744571561297</cx:pt>
          <cx:pt idx="2189">1.2631241350893267</cx:pt>
          <cx:pt idx="2190">1.2377579453119232</cx:pt>
          <cx:pt idx="2191">1.1934423870396065</cx:pt>
          <cx:pt idx="2192">1.1707445475845373</cx:pt>
          <cx:pt idx="2193">1.176569827566466</cx:pt>
          <cx:pt idx="2194">1.6522283421560278</cx:pt>
          <cx:pt idx="2195">1.7923194559726412</cx:pt>
          <cx:pt idx="2196">1.9623433983131557</cx:pt>
          <cx:pt idx="2197">2.0930242049676937</cx:pt>
          <cx:pt idx="2198">2.1023650788412516</cx:pt>
          <cx:pt idx="2199">2.1504853665691277</cx:pt>
          <cx:pt idx="2200">2.1442915465391219</cx:pt>
          <cx:pt idx="2201">2.1758980842673399</cx:pt>
          <cx:pt idx="2202">2.1760980666548382</cx:pt>
          <cx:pt idx="2203">2.219816954577102</cx:pt>
          <cx:pt idx="2204">2.2517885842052294</cx:pt>
          <cx:pt idx="2205">2.3643119893101465</cx:pt>
          <cx:pt idx="2206">2.457108975224549</cx:pt>
          <cx:pt idx="2207">2.4923523025447269</cx:pt>
          <cx:pt idx="2208">2.6168586190809142</cx:pt>
          <cx:pt idx="2209">2.6176195785607428</cx:pt>
          <cx:pt idx="2210">2.7051814480116985</cx:pt>
          <cx:pt idx="2211">2.8845377930562628</cx:pt>
          <cx:pt idx="2212">2.8867905310036748</cx:pt>
          <cx:pt idx="2213">2.8866726762459489</cx:pt>
          <cx:pt idx="2214">2.8805696121292721</cx:pt>
          <cx:pt idx="2215">2.9701601998719243</cx:pt>
          <cx:pt idx="2216">3.029468706747322</cx:pt>
          <cx:pt idx="2217">3.1015355198103349</cx:pt>
          <cx:pt idx="2218">3.1367742831172611</cx:pt>
          <cx:pt idx="2219">3.2484440940638133</cx:pt>
          <cx:pt idx="2220">3.2186936841299558</cx:pt>
          <cx:pt idx="2221">3.2418358332729431</cx:pt>
          <cx:pt idx="2222">3.2425004621914599</cx:pt>
          <cx:pt idx="2223">3.2731640343403088</cx:pt>
          <cx:pt idx="2224">3.3139054697389292</cx:pt>
          <cx:pt idx="2225">3.2618606076372902</cx:pt>
          <cx:pt idx="2226">3.2331172746790307</cx:pt>
          <cx:pt idx="2227">3.1742902009063214</cx:pt>
          <cx:pt idx="2228">3.1485763637364061</cx:pt>
          <cx:pt idx="2229">3.1875253825681344</cx:pt>
          <cx:pt idx="2230">3.2463362641268305</cx:pt>
          <cx:pt idx="2231">3.2644959761798802</cx:pt>
          <cx:pt idx="2232">3.3281788749488688</cx:pt>
          <cx:pt idx="2233">3.3527868684045878</cx:pt>
          <cx:pt idx="2234">3.2271278218401305</cx:pt>
          <cx:pt idx="2235">3.1490628064774739</cx:pt>
          <cx:pt idx="2236">2.9942526667364033</cx:pt>
          <cx:pt idx="2237">2.9934750906395684</cx:pt>
          <cx:pt idx="2238">2.8236086115816139</cx:pt>
          <cx:pt idx="2239">2.870423856903292</cx:pt>
          <cx:pt idx="2240">2.8322239067673514</cx:pt>
          <cx:pt idx="2241">2.832519339113436</cx:pt>
          <cx:pt idx="2242">2.8022709300835631</cx:pt>
          <cx:pt idx="2243">2.8519045890327819</cx:pt>
          <cx:pt idx="2244">2.8847794496491894</cx:pt>
          <cx:pt idx="2245">2.861568033946289</cx:pt>
          <cx:pt idx="2246">7.4321776863373472</cx:pt>
          <cx:pt idx="2247">9.8523454660702861</cx:pt>
          <cx:pt idx="2248">11.741001944751854</cx:pt>
          <cx:pt idx="2249">13.249132469063611</cx:pt>
          <cx:pt idx="2250">14.333356291554502</cx:pt>
          <cx:pt idx="2251">15.2850949114362</cx:pt>
          <cx:pt idx="2252">16.02683572093401</cx:pt>
          <cx:pt idx="2253">16.68004233382112</cx:pt>
          <cx:pt idx="2254">17.125110011419661</cx:pt>
          <cx:pt idx="2255">17.624933322530783</cx:pt>
          <cx:pt idx="2256">18.04335984853309</cx:pt>
          <cx:pt idx="2257">18.314680262518365</cx:pt>
          <cx:pt idx="2258">18.380370092334452</cx:pt>
          <cx:pt idx="2259">18.558598876479458</cx:pt>
          <cx:pt idx="2260">18.607754806121324</cx:pt>
          <cx:pt idx="2261">18.614088478689286</cx:pt>
          <cx:pt idx="2262">18.824486621396609</cx:pt>
          <cx:pt idx="2263">19.062172263355755</cx:pt>
          <cx:pt idx="2264">19.228920468023972</cx:pt>
          <cx:pt idx="2265">19.385906509183307</cx:pt>
          <cx:pt idx="2266">19.619202662653741</cx:pt>
          <cx:pt idx="2267">19.795495403741981</cx:pt>
          <cx:pt idx="2268">20.027710201467833</cx:pt>
          <cx:pt idx="2269">20.152917993578843</cx:pt>
          <cx:pt idx="2270">20.338783894878787</cx:pt>
          <cx:pt idx="2271">20.544973222936619</cx:pt>
          <cx:pt idx="2272">20.662737590435171</cx:pt>
          <cx:pt idx="2273">20.874522460573541</cx:pt>
          <cx:pt idx="2274">21.145103904681687</cx:pt>
          <cx:pt idx="2275">21.393403621084317</cx:pt>
          <cx:pt idx="2276">21.504700996438814</cx:pt>
          <cx:pt idx="2277">21.467616206542303</cx:pt>
          <cx:pt idx="2278">21.383887266436282</cx:pt>
          <cx:pt idx="2279">21.178236450181231</cx:pt>
          <cx:pt idx="2280">20.881447242102997</cx:pt>
          <cx:pt idx="2281">20.511602334351661</cx:pt>
          <cx:pt idx="2282">20.010682141919752</cx:pt>
          <cx:pt idx="2283">19.421121270355354</cx:pt>
          <cx:pt idx="2284">18.729089030542251</cx:pt>
          <cx:pt idx="2285">17.914607651629655</cx:pt>
          <cx:pt idx="2286">16.90495772544033</cx:pt>
          <cx:pt idx="2287">15.722680939139446</cx:pt>
          <cx:pt idx="2288">14.317083269064748</cx:pt>
          <cx:pt idx="2289">12.630874181173906</cx:pt>
          <cx:pt idx="2290">10.521688568028488</cx:pt>
          <cx:pt idx="2291">7.6109506280336801</cx:pt>
          <cx:pt idx="2292">1.0997648820083883</cx:pt>
          <cx:pt idx="2293">1.0994910846211032</cx:pt>
          <cx:pt idx="2294">1.1100486282092539</cx:pt>
          <cx:pt idx="2295">1.1202222321764397</cx:pt>
          <cx:pt idx="2296">1.1295067912136911</cx:pt>
          <cx:pt idx="2297">1.1440650970275068</cx:pt>
          <cx:pt idx="2298">1.1448134561850523</cx:pt>
          <cx:pt idx="2299">1.0991783832843374</cx:pt>
          <cx:pt idx="2300">1.1330812496372753</cx:pt>
          <cx:pt idx="2301">1.1599998146088095</cx:pt>
          <cx:pt idx="2302">1.1885701177175803</cx:pt>
          <cx:pt idx="2303">1.1681522032220257</cx:pt>
          <cx:pt idx="2304">1.1562727475239856</cx:pt>
          <cx:pt idx="2305">1.1184868811147524</cx:pt>
          <cx:pt idx="2306">1.0728425713009802</cx:pt>
          <cx:pt idx="2307">1.1132315644685213</cx:pt>
          <cx:pt idx="2308">1.117529244764192</cx:pt>
          <cx:pt idx="2309">1.1626913531955496</cx:pt>
          <cx:pt idx="2310">1.2037273652669331</cx:pt>
          <cx:pt idx="2311">1.2388050086524371</cx:pt>
          <cx:pt idx="2312">1.2385480573326899</cx:pt>
          <cx:pt idx="2313">1.2567596155123681</cx:pt>
          <cx:pt idx="2314">1.266473046888335</cx:pt>
          <cx:pt idx="2315">1.2978564627297817</cx:pt>
          <cx:pt idx="2316">1.2892710285065105</cx:pt>
          <cx:pt idx="2317">1.2814932486113837</cx:pt>
          <cx:pt idx="2318">1.2557808691797503</cx:pt>
          <cx:pt idx="2319">1.2513272093845942</cx:pt>
          <cx:pt idx="2320">1.2474605602833162</cx:pt>
          <cx:pt idx="2321">1.2431709369570314</cx:pt>
          <cx:pt idx="2322">1.248614371798741</cx:pt>
          <cx:pt idx="2323">1.258507564666411</cx:pt>
          <cx:pt idx="2324">1.2642111740026338</cx:pt>
          <cx:pt idx="2325">1.2521466299102906</cx:pt>
          <cx:pt idx="2326">1.2379256843607371</cx:pt>
          <cx:pt idx="2327">1.2370513849603249</cx:pt>
          <cx:pt idx="2328">1.2334767716647763</cx:pt>
          <cx:pt idx="2329">1.2549525116320588</cx:pt>
          <cx:pt idx="2330">1.2496711825580873</cx:pt>
          <cx:pt idx="2331">1.2125512958886686</cx:pt>
          <cx:pt idx="2332">1.215003429350441</cx:pt>
          <cx:pt idx="2333">1.1841858507144294</cx:pt>
          <cx:pt idx="2334">1.1871502880644942</cx:pt>
          <cx:pt idx="2335">1.1802676022424849</cx:pt>
          <cx:pt idx="2336">1.2071424535761324</cx:pt>
          <cx:pt idx="2337">1.2044085685513859</cx:pt>
          <cx:pt idx="2338">1.1778361789808156</cx:pt>
          <cx:pt idx="2339">1.180527401730497</cx:pt>
          <cx:pt idx="2340">1.1765331795494101</cx:pt>
          <cx:pt idx="2341">1.1774429191926832</cx:pt>
          <cx:pt idx="2342">1.1646089380107909</cx:pt>
          <cx:pt idx="2343">1.1872155007248217</cx:pt>
          <cx:pt idx="2344">1.1723076222947291</cx:pt>
          <cx:pt idx="2345">1.16190583150715</cx:pt>
          <cx:pt idx="2346">1.1598467640723198</cx:pt>
          <cx:pt idx="2347">1.2022373408174916</cx:pt>
          <cx:pt idx="2348">1.180688244704247</cx:pt>
          <cx:pt idx="2349">1.2151381177303633</cx:pt>
          <cx:pt idx="2350">1.2160638954633358</cx:pt>
          <cx:pt idx="2351">1.2389489996185938</cx:pt>
          <cx:pt idx="2352">1.2326690160889933</cx:pt>
          <cx:pt idx="2353">1.2276092685089308</cx:pt>
          <cx:pt idx="2354">1.2312703467015955</cx:pt>
          <cx:pt idx="2355">1.2083241749745623</cx:pt>
          <cx:pt idx="2356">1.1897634173428397</cx:pt>
          <cx:pt idx="2357">1.2218414623590839</cx:pt>
          <cx:pt idx="2358">1.2102800706705725</cx:pt>
          <cx:pt idx="2359">1.2239628921214574</cx:pt>
          <cx:pt idx="2360">1.1645252851634209</cx:pt>
          <cx:pt idx="2361">1.1695297281156374</cx:pt>
          <cx:pt idx="2362">1.1911960195489435</cx:pt>
          <cx:pt idx="2363">1.1648378907933743</cx:pt>
          <cx:pt idx="2364">1.1509124944549318</cx:pt>
          <cx:pt idx="2365">1.1507215127909969</cx:pt>
          <cx:pt idx="2366">1.147672258488122</cx:pt>
          <cx:pt idx="2367">1.1832722988954545</cx:pt>
          <cx:pt idx="2368">1.183034370836556</cx:pt>
          <cx:pt idx="2369">1.1708100311460685</cx:pt>
          <cx:pt idx="2370">1.1774673933343509</cx:pt>
          <cx:pt idx="2371">1.1780031399998314</cx:pt>
          <cx:pt idx="2372">1.1344202251863404</cx:pt>
          <cx:pt idx="2373">1.152201819239175</cx:pt>
          <cx:pt idx="2374">1.1237725442378432</cx:pt>
          <cx:pt idx="2375">1.0986551896780223</cx:pt>
          <cx:pt idx="2376">1.0845923866417699</cx:pt>
          <cx:pt idx="2377">1.0761652349445348</cx:pt>
          <cx:pt idx="2378">1.0440216905421937</cx:pt>
          <cx:pt idx="2379">1.0375554396380848</cx:pt>
          <cx:pt idx="2380">1.0098276228926342</cx:pt>
          <cx:pt idx="2381">0.96006048196572313</cx:pt>
          <cx:pt idx="2382">0.95100953716823744</cx:pt>
          <cx:pt idx="2383">0.96927353352688717</cx:pt>
          <cx:pt idx="2384">0.95871710875714289</cx:pt>
          <cx:pt idx="2385">0.916778370515557</cx:pt>
          <cx:pt idx="2386">0.91728889927393209</cx:pt>
          <cx:pt idx="2387">0.91865727167192124</cx:pt>
          <cx:pt idx="2388">0.90380224309505619</cx:pt>
          <cx:pt idx="2389">0.89473682079962646</cx:pt>
          <cx:pt idx="2390">0.84779486258897396</cx:pt>
          <cx:pt idx="2391">0.87736997014721685</cx:pt>
          <cx:pt idx="2392">0.86402882269725934</cx:pt>
          <cx:pt idx="2393">0.84390133449686555</cx:pt>
          <cx:pt idx="2394">0.85136374710522922</cx:pt>
          <cx:pt idx="2395">0.8611437004974275</cx:pt>
          <cx:pt idx="2396">0.8630302219628021</cx:pt>
          <cx:pt idx="2397">0.87801933277004107</cx:pt>
          <cx:pt idx="2398">0.83488598945282066</cx:pt>
          <cx:pt idx="2399">0.84859197105165529</cx:pt>
          <cx:pt idx="2400">0.86644158169651231</cx:pt>
          <cx:pt idx="2401">0.86300170148087962</cx:pt>
          <cx:pt idx="2402">0.79781574107682096</cx:pt>
          <cx:pt idx="2403">0.81685663485385374</cx:pt>
          <cx:pt idx="2404">0.75590499960051349</cx:pt>
          <cx:pt idx="2405">0.77626787442576617</cx:pt>
          <cx:pt idx="2406">0.79656062137756434</cx:pt>
          <cx:pt idx="2407">0.82107309626595637</cx:pt>
          <cx:pt idx="2408">0.81568759338364305</cx:pt>
          <cx:pt idx="2409">0.77714557072355361</cx:pt>
          <cx:pt idx="2410">0.79628395178361577</cx:pt>
          <cx:pt idx="2411">0.76340247139587725</cx:pt>
          <cx:pt idx="2412">0.79704520612450869</cx:pt>
          <cx:pt idx="2413">0.76149135970744319</cx:pt>
          <cx:pt idx="2414">0.68197099970925723</cx:pt>
          <cx:pt idx="2415">0.72311824759163645</cx:pt>
          <cx:pt idx="2416">0.76404936265363654</cx:pt>
          <cx:pt idx="2417">0.82360415827253375</cx:pt>
          <cx:pt idx="2418">0.89767291741851385</cx:pt>
          <cx:pt idx="2419">0.82314640253116567</cx:pt>
          <cx:pt idx="2420">0.93289424195171566</cx:pt>
          <cx:pt idx="2421">1.1001969520650978</cx:pt>
          <cx:pt idx="2422">0.6434671708797558</cx:pt>
        </cx:lvl>
      </cx:numDim>
    </cx:data>
    <cx:data id="2">
      <cx:numDim type="val">
        <cx:f>'Data Repository Table'!$E$4937:$E$7360</cx:f>
        <cx:lvl ptCount="2424" formatCode="General">
          <cx:pt idx="0">6.0130682057758023</cx:pt>
          <cx:pt idx="1">6.0384075377037814</cx:pt>
          <cx:pt idx="2">5.9204402626177917</cx:pt>
          <cx:pt idx="3">5.8067443175924724</cx:pt>
          <cx:pt idx="4">5.5389141438077116</cx:pt>
          <cx:pt idx="5">5.8357445093573652</cx:pt>
          <cx:pt idx="6">5.8752259164982306</cx:pt>
          <cx:pt idx="7">5.8568955775608309</cx:pt>
          <cx:pt idx="8">5.8568955775608309</cx:pt>
          <cx:pt idx="9">5.9788156485327253</cx:pt>
          <cx:pt idx="10">5.8902142283548562</cx:pt>
          <cx:pt idx="11">5.7789011866211357</cx:pt>
          <cx:pt idx="12">5.8421898972644604</cx:pt>
          <cx:pt idx="13">5.7314450503857568</cx:pt>
          <cx:pt idx="14">5.7785290385583741</cx:pt>
          <cx:pt idx="15">5.7021029887773578</cx:pt>
          <cx:pt idx="16">5.6079820225809733</cx:pt>
          <cx:pt idx="17">5.6338073224273968</cx:pt>
          <cx:pt idx="18">5.3781717323636764</cx:pt>
          <cx:pt idx="19">5.32189633919727</cx:pt>
          <cx:pt idx="20">5.4019112507787765</cx:pt>
          <cx:pt idx="21">5.4084760240964185</cx:pt>
          <cx:pt idx="22">5.8161806186919032</cx:pt>
          <cx:pt idx="23">5.8420058420087617</cx:pt>
          <cx:pt idx="24">5.840901388677783</cx:pt>
          <cx:pt idx="25">6.020395443018888</cx:pt>
          <cx:pt idx="26">6.0010751724842155</cx:pt>
          <cx:pt idx="27">5.9405658468402791</cx:pt>
          <cx:pt idx="28">5.6633133658283379</cx:pt>
          <cx:pt idx="29">5.8874753155659034</cx:pt>
          <cx:pt idx="30">6.0425017961924725</cx:pt>
          <cx:pt idx="31">5.8397967264667372</cx:pt>
          <cx:pt idx="32">5.8397967264667372</cx:pt>
          <cx:pt idx="33">5.6648320875949318</cx:pt>
          <cx:pt idx="34">5.6505780463652133</cx:pt>
          <cx:pt idx="35">5.7456856184276619</cx:pt>
          <cx:pt idx="36">5.4370295495408758</cx:pt>
          <cx:pt idx="37">5.2658363303529008</cx:pt>
          <cx:pt idx="38">5.2910961931088689</cx:pt>
          <cx:pt idx="39">5.3227044625546256</cx:pt>
          <cx:pt idx="40">5.2658363303529008</cx:pt>
          <cx:pt idx="41">5.3761720402579769</cx:pt>
          <cx:pt idx="42">5.6397208807620274</cx:pt>
          <cx:pt idx="43">5.5402728864121853</cx:pt>
          <cx:pt idx="44">5.4762439054362781</cx:pt>
          <cx:pt idx="45">5.3719702638909901</cx:pt>
          <cx:pt idx="46">5.2896734456193357</cx:pt>
          <cx:pt idx="47">5.3723705746530408</cx:pt>
          <cx:pt idx="48">5.1198538285586279</cx:pt>
          <cx:pt idx="49">5.0500718615136178</cx:pt>
          <cx:pt idx="50">5.0381341485638034</cx:pt>
          <cx:pt idx="51">4.7787612557842793</cx:pt>
          <cx:pt idx="52">4.9132255134724439</cx:pt>
          <cx:pt idx="53">4.696601379309195</cx:pt>
          <cx:pt idx="54">4.5247230058391308</cx:pt>
          <cx:pt idx="55">4.6917910466906392</cx:pt>
          <cx:pt idx="56">4.6299631898952445</cx:pt>
          <cx:pt idx="57">4.9046828621731118</cx:pt>
          <cx:pt idx="58">5.0829675525016826</cx:pt>
          <cx:pt idx="59">5.1082896996855984</cx:pt>
          <cx:pt idx="60">5.0225298855868354</cx:pt>
          <cx:pt idx="61">4.9969883403024138</cx:pt>
          <cx:pt idx="62">4.9559348585893108</cx:pt>
          <cx:pt idx="63">5.2525467453253532</cx:pt>
          <cx:pt idx="64">5.5642870453078404</cx:pt>
          <cx:pt idx="65">5.5937753423466301</cx:pt>
          <cx:pt idx="66">5.8283696239272844</cx:pt>
          <cx:pt idx="67">5.7428777769764805</cx:pt>
          <cx:pt idx="68">5.6064479008117187</cx:pt>
          <cx:pt idx="69">5.6294158294307204</cx:pt>
          <cx:pt idx="70">5.6886984735157711</cx:pt>
          <cx:pt idx="71">5.7276916478545896</cx:pt>
          <cx:pt idx="72">5.9591801413440466</cx:pt>
          <cx:pt idx="73">5.737445387094545</cx:pt>
          <cx:pt idx="74">5.8100765268033978</cx:pt>
          <cx:pt idx="75">5.9200770119954518</cx:pt>
          <cx:pt idx="76">5.7667940815061733</cx:pt>
          <cx:pt idx="77">5.7484920883934931</cx:pt>
          <cx:pt idx="78">5.8420058420087617</cx:pt>
          <cx:pt idx="79">5.8272625860957934</cx:pt>
          <cx:pt idx="80">5.9775565907567056</cx:pt>
          <cx:pt idx="81">6.0134258391187183</cx:pt>
          <cx:pt idx="82">6.099003972975062</cx:pt>
          <cx:pt idx="83">5.9517775423799666</cx:pt>
          <cx:pt idx="84">5.9705369798668029</cx:pt>
          <cx:pt idx="85">5.9075311874913359</cx:pt>
          <cx:pt idx="86">5.8047070258466968</cx:pt>
          <cx:pt idx="87">5.8732123796023243</cx:pt>
          <cx:pt idx="88">5.7022915597378967</cx:pt>
          <cx:pt idx="89">5.6852951238402127</cx:pt>
          <cx:pt idx="90">5.6560938685158302</cx:pt>
          <cx:pt idx="91">5.6743148892501187</cx:pt>
          <cx:pt idx="92">5.575869670342481</cx:pt>
          <cx:pt idx="93">5.5743267108745878</cx:pt>
          <cx:pt idx="94">5.440588203494177</cx:pt>
          <cx:pt idx="95">5.2898767186886984</cx:pt>
          <cx:pt idx="96">5.2959712827730669</cx:pt>
          <cx:pt idx="97">5.0719553608835817</cx:pt>
          <cx:pt idx="98">5.408277208648923</cx:pt>
          <cx:pt idx="99">5.5727833242011684</cx:pt>
          <cx:pt idx="100">5.6372417567154169</cx:pt>
          <cx:pt idx="101">5.6777248207169171</cx:pt>
          <cx:pt idx="102">5.7135944282318984</cx:pt>
          <cx:pt idx="103">5.4534195644784713</cx:pt>
          <cx:pt idx="104">5.5157643091396222</cx:pt>
          <cx:pt idx="105">5.4557851312024255</cx:pt>
          <cx:pt idx="106">5.3651604110743181</cx:pt>
          <cx:pt idx="107">5.3655612299020463</cx:pt>
          <cx:pt idx="108">5.6238738418680159</cx:pt>
          <cx:pt idx="109">5.5243352151994252</cx:pt>
          <cx:pt idx="110">5.5067895531603259</cx:pt>
          <cx:pt idx="111">5.3063159769572552</cx:pt>
          <cx:pt idx="112">5.4146356821020261</cx:pt>
          <cx:pt idx="113">5.3691672528658785</cx:pt>
          <cx:pt idx="114">5.4457243759204914</cx:pt>
          <cx:pt idx="115">5.5548099858136126</cx:pt>
          <cx:pt idx="116">5.5903142043382328</cx:pt>
          <cx:pt idx="117">5.6058724969100844</cx:pt>
          <cx:pt idx="118">5.5188825423385328</cx:pt>
          <cx:pt idx="119">5.566025975621236</cx:pt>
          <cx:pt idx="120">5.4392045591758311</cx:pt>
          <cx:pt idx="121">5.384366058271147</cx:pt>
          <cx:pt idx="122">5.3450811474773969</cx:pt>
          <cx:pt idx="123">5.6564740717810391</cx:pt>
          <cx:pt idx="124">5.8340859729511152</cx:pt>
          <cx:pt idx="125">5.8185835027517339</cx:pt>
          <cx:pt idx="126">5.8467893956050059</cx:pt>
          <cx:pt idx="127">6.0903590303265025</cx:pt>
          <cx:pt idx="128">6.2712863320107228</cx:pt>
          <cx:pt idx="129">6.0960060960091447</cx:pt>
          <cx:pt idx="130">5.9213482916813662</cx:pt>
          <cx:pt idx="131">5.8180290791290643</cx:pt>
          <cx:pt idx="132">5.9238900325951001</cx:pt>
          <cx:pt idx="133">5.8130368869862137</cx:pt>
          <cx:pt idx="134">5.9088051664125523</cx:pt>
          <cx:pt idx="135">5.7952520425395768</cx:pt>
          <cx:pt idx="136">5.7874539873690569</cx:pt>
          <cx:pt idx="137">5.9407468485266701</cx:pt>
          <cx:pt idx="138">6.015213686888</cx:pt>
          <cx:pt idx="139">5.7312574386391866</cx:pt>
          <cx:pt idx="140">5.6905883438291962</cx:pt>
          <cx:pt idx="141">5.6886984735157711</cx:pt>
          <cx:pt idx="142">5.697197953040515</cx:pt>
          <cx:pt idx="143">5.8480766068853782</cx:pt>
          <cx:pt idx="144">5.6735568483824999</cx:pt>
          <cx:pt idx="145">5.5256975426938935</cx:pt>
          <cx:pt idx="146">5.4492773517149953</cx:pt>
          <cx:pt idx="147">5.3537244597941189</cx:pt>
          <cx:pt idx="148">5.3873607558783831</cx:pt>
          <cx:pt idx="149">5.3881590608032477</cx:pt>
          <cx:pt idx="150">5.3000304320489677</cx:pt>
          <cx:pt idx="151">5.6579946293546834</cx:pt>
          <cx:pt idx="152">5.7783429555390677</cx:pt>
          <cx:pt idx="153">6.0723239603606363</cx:pt>
          <cx:pt idx="154">5.8561611705889725</cx:pt>
          <cx:pt idx="155">5.7757371637693344</cx:pt>
          <cx:pt idx="156">5.963689411584868</cx:pt>
          <cx:pt idx="157">6.0303889922499589</cx:pt>
          <cx:pt idx="158">5.8243094565073799</cx:pt>
          <cx:pt idx="159">5.5766409899851723</cx:pt>
          <cx:pt idx="160">5.8085957809298927</cx:pt>
          <cx:pt idx="161">5.8945938417451442</cx:pt>
          <cx:pt idx="162">6.0689585650683213</cx:pt>
          <cx:pt idx="163">5.8945938417451442</cx:pt>
          <cx:pt idx="164">6.001971002427327</cx:pt>
          <cx:pt idx="165">5.8292919948558364</cx:pt>
          <cx:pt idx="166">5.8920394628904225</cx:pt>
          <cx:pt idx="167">5.9606234789713488</cx:pt>
          <cx:pt idx="168">6.001971002427327</cx:pt>
          <cx:pt idx="169">6.1427463998877032</cx:pt>
          <cx:pt idx="170">6.1269719230821158</cx:pt>
          <cx:pt idx="171">6.2369002502190787</cx:pt>
          <cx:pt idx="172">6.3083832258932384</cx:pt>
          <cx:pt idx="173">6.2449979983983983</cx:pt>
          <cx:pt idx="174">6.2656256284691185</cx:pt>
          <cx:pt idx="175">6.1012954732263962</cx:pt>
          <cx:pt idx="176">5.9773767037107932</cx:pt>
          <cx:pt idx="177">6.0053739374856807</cx:pt>
          <cx:pt idx="178">6.1423962960773304</cx:pt>
          <cx:pt idx="179">6.3746811010265398</cx:pt>
          <cx:pt idx="180">6.3197931094488018</cx:pt>
          <cx:pt idx="181">6.3389901166451379</cx:pt>
          <cx:pt idx="182">6.1572581525374783</cx:pt>
          <cx:pt idx="183">6.1816586144663832</cx:pt>
          <cx:pt idx="184">6.1371423422495468</cx:pt>
          <cx:pt idx="185">6.3753557775486209</cx:pt>
          <cx:pt idx="186">6.7537325402925488</cx:pt>
          <cx:pt idx="187">6.8434098273094932</cx:pt>
          <cx:pt idx="188">6.7816957945238423</cx:pt>
          <cx:pt idx="189">6.8949100752828212</cx:pt>
          <cx:pt idx="190">6.8158575380134403</cx:pt>
          <cx:pt idx="191">6.7521402421352565</cx:pt>
          <cx:pt idx="192">6.8199580612338995</cx:pt>
          <cx:pt idx="193">6.4451365343363021</cx:pt>
          <cx:pt idx="194">6.5313141492450839</cx:pt>
          <cx:pt idx="195">6.2712863320107237</cx:pt>
          <cx:pt idx="196">6.1745227493949448</cx:pt>
          <cx:pt idx="197">6.198855253319997</cx:pt>
          <cx:pt idx="198">6.2274107911145808</cx:pt>
          <cx:pt idx="199">5.7205533982994776</cx:pt>
          <cx:pt idx="200">5.7380075969621807</cx:pt>
          <cx:pt idx="201">5.4732978401793417</cx:pt>
          <cx:pt idx="202">5.5781833093094075</cx:pt>
          <cx:pt idx="203">5.5642870453078421</cx:pt>
          <cx:pt idx="204">5.626549965665375</cx:pt>
          <cx:pt idx="205">5.632280234963571</cx:pt>
          <cx:pt idx="206">5.688698473515772</cx:pt>
          <cx:pt idx="207">5.192219158023498</cx:pt>
          <cx:pt idx="208">4.6285695321533744</cx:pt>
          <cx:pt idx="209">4.6111132702849353</cx:pt>
          <cx:pt idx="210">4.643876763852532</cx:pt>
          <cx:pt idx="211">4.2256258682584091</cx:pt>
          <cx:pt idx="212">3.3408517360967451</cx:pt>
          <cx:pt idx="213">2.8093545732569192</cx:pt>
          <cx:pt idx="214">2.8093545732569192</cx:pt>
          <cx:pt idx="215">2.9204506943388915</cx:pt>
          <cx:pt idx="216">2.9366061898011617</cx:pt>
          <cx:pt idx="217">2.9160291161872185</cx:pt>
          <cx:pt idx="218">2.9534015380847367</cx:pt>
          <cx:pt idx="219">2.9639409974827666</cx:pt>
          <cx:pt idx="220">2.948664724229253</cx:pt>
          <cx:pt idx="221">2.9233946978025029</cx:pt>
          <cx:pt idx="222">2.9289067283981431</cx:pt>
          <cx:pt idx="223">2.9501230154777631</cx:pt>
          <cx:pt idx="224">2.9186091841650317</cx:pt>
          <cx:pt idx="225">2.9537655937456688</cx:pt>
          <cx:pt idx="226">3.0592711198823541</cx:pt>
          <cx:pt idx="227">3.0844737792083192</cx:pt>
          <cx:pt idx="228">3.5864140295562432</cx:pt>
          <cx:pt idx="229">4.0045672849616283</cx:pt>
          <cx:pt idx="230">4.8406877677160844</cx:pt>
          <cx:pt idx="231">5.1600200049624716</cx:pt>
          <cx:pt idx="232">5.3402508901635395</cx:pt>
          <cx:pt idx="233">5.2723665902861487</cx:pt>
          <cx:pt idx="234">5.7835510169437763</cx:pt>
          <cx:pt idx="235">5.9148073710442288</cx:pt>
          <cx:pt idx="236">5.9097149832116003</cx:pt>
          <cx:pt idx="237">5.9300582963280775</cx:pt>
          <cx:pt idx="238">6.260303335259592</cx:pt>
          <cx:pt idx="239">6.4160417235122056</cx:pt>
          <cx:pt idx="240">6.3842885104721141</cx:pt>
          <cx:pt idx="241">6.6158818363932621</cx:pt>
          <cx:pt idx="242">6.4639613008529633</cx:pt>
          <cx:pt idx="243">6.4858821039752694</cx:pt>
          <cx:pt idx="244">6.5584223122490712</cx:pt>
          <cx:pt idx="245">6.3107690855879763</cx:pt>
          <cx:pt idx="246">5.8861967201204717</cx:pt>
          <cx:pt idx="247">5.8579970153848704</cx:pt>
          <cx:pt idx="248">5.8462376468679329</cx:pt>
          <cx:pt idx="249">5.9886990347680902</cx:pt>
          <cx:pt idx="250">5.8814452177557826</cx:pt>
          <cx:pt idx="251">5.821724239285091</cx:pt>
          <cx:pt idx="252">5.6064479008117196</cx:pt>
          <cx:pt idx="253">5.3227044625546256</cx:pt>
          <cx:pt idx="254">5.2011165054462882</cx:pt>
          <cx:pt idx="255">4.9663383019114047</cx:pt>
          <cx:pt idx="256">4.6429504894314588</cx:pt>
          <cx:pt idx="257">4.8899721836621168</cx:pt>
          <cx:pt idx="258">4.8899721836621168</cx:pt>
          <cx:pt idx="259">5.0206027141074632</cx:pt>
          <cx:pt idx="260">5.1276186596001434</cx:pt>
          <cx:pt idx="261">5.0246703203252041</cx:pt>
          <cx:pt idx="262">5.024670320325205</cx:pt>
          <cx:pt idx="263">5.1897334549409502</cx:pt>
          <cx:pt idx="264">5.08169813290582</cx:pt>
          <cx:pt idx="265">5.0396279091184493</cx:pt>
          <cx:pt idx="266">5.0278792639116858</cx:pt>
          <cx:pt idx="267">4.874996553624368</cx:pt>
          <cx:pt idx="268">4.8712454524551019</cx:pt>
          <cx:pt idx="269">4.7396746859918837</cx:pt>
          <cx:pt idx="270">4.9461617572651475</cx:pt>
          <cx:pt idx="271">5.1152313142075476</cx:pt>
          <cx:pt idx="272">5.1152313142075476</cx:pt>
          <cx:pt idx="273">5.3595458000464653</cx:pt>
          <cx:pt idx="274">5.3595458000464653</cx:pt>
          <cx:pt idx="275">5.2819432722420254</cx:pt>
          <cx:pt idx="276">5.2137122761929167</cx:pt>
          <cx:pt idx="277">5.3287614813135686</cx:pt>
          <cx:pt idx="278">5.304694613852579</cx:pt>
          <cx:pt idx="279">5.4520391765646457</cx:pt>
          <cx:pt idx="280">5.359345169436402</cx:pt>
          <cx:pt idx="281">5.3713697418094224</cx:pt>
          <cx:pt idx="282">5.5323097900337457</cx:pt>
          <cx:pt idx="283">5.5779905427155096</cx:pt>
          <cx:pt idx="284">5.8291075323462618</cx:pt>
          <cx:pt idx="285">5.835375986449014</cx:pt>
          <cx:pt idx="286">5.9719775727167832</cx:pt>
          <cx:pt idx="287">5.8922219552468045</cx:pt>
          <cx:pt idx="288">5.5338644647279267</cx:pt>
          <cx:pt idx="289">5.5071800640676809</cx:pt>
          <cx:pt idx="290">5.6894544969722949</cx:pt>
          <cx:pt idx="291">5.513229446044412</cx:pt>
          <cx:pt idx="292">5.8250478792623603</cx:pt>
          <cx:pt idx="293">5.9535839030219924</cx:pt>
          <cx:pt idx="294">6.0673637789246202</cx:pt>
          <cx:pt idx="295">6.1093969573760472</cx:pt>
          <cx:pt idx="296">6.25755457405781</cx:pt>
          <cx:pt idx="297">6.3767049164437459</cx:pt>
          <cx:pt idx="298">6.6660752425835215</cx:pt>
          <cx:pt idx="299">6.7422596001733002</cx:pt>
          <cx:pt idx="300">6.9123545309315793</cx:pt>
          <cx:pt idx="301">6.8322448647917415</cx:pt>
          <cx:pt idx="302">6.7968999891395763</cx:pt>
          <cx:pt idx="303">6.7546877390159876</cx:pt>
          <cx:pt idx="304">6.8029089287210889</cx:pt>
          <cx:pt idx="305">6.8029089287210889</cx:pt>
          <cx:pt idx="306">6.8874203545148127</cx:pt>
          <cx:pt idx="307">6.9559288550530152</cx:pt>
          <cx:pt idx="308">7</cx:pt>
          <cx:pt idx="309">7.057825672670476</cx:pt>
          <cx:pt idx="310">7.057825672670476</cx:pt>
          <cx:pt idx="311">6.9559288550530152</cx:pt>
          <cx:pt idx="312">7.0944473213703487</cx:pt>
          <cx:pt idx="313">6.9323924092717819</cx:pt>
          <cx:pt idx="314">6.9078418894682638</cx:pt>
          <cx:pt idx="315">6.7326838822318482</cx:pt>
          <cx:pt idx="316">6.7235743182405017</cx:pt>
          <cx:pt idx="317">6.6266000299542176</cx:pt>
          <cx:pt idx="318">6.8750757571583652</cx:pt>
          <cx:pt idx="319">6.802908928721088</cx:pt>
          <cx:pt idx="320">6.7314060906313822</cx:pt>
          <cx:pt idx="321">6.8379082508696936</cx:pt>
          <cx:pt idx="322">6.935338833192132</cx:pt>
          <cx:pt idx="323">6.8199580612339004</cx:pt>
          <cx:pt idx="324">6.7502289885491651</cx:pt>
          <cx:pt idx="325">6.6474993277042138</cx:pt>
          <cx:pt idx="326">6.7546877390159876</cx:pt>
          <cx:pt idx="327">6.6225421490639844</cx:pt>
          <cx:pt idx="328">6.6974557839895166</cx:pt>
          <cx:pt idx="329">6.6476610811218677</cx:pt>
          <cx:pt idx="330">6.5703799336962456</cx:pt>
          <cx:pt idx="331">6.3895075280973659</cx:pt>
          <cx:pt idx="332">6.4857163157998396</cx:pt>
          <cx:pt idx="333">6.6416735810328138</cx:pt>
          <cx:pt idx="334">6.7323644570682362</cx:pt>
          <cx:pt idx="335">6.6474993277042129</cx:pt>
          <cx:pt idx="336">6.6426448936245039</cx:pt>
          <cx:pt idx="337">6.6426448936245039</cx:pt>
          <cx:pt idx="338">6.6123052444031423</cx:pt>
          <cx:pt idx="339">6.4775874972821672</cx:pt>
          <cx:pt idx="340">6.7003450400642786</cx:pt>
          <cx:pt idx="341">6.4800769940998677</cx:pt>
          <cx:pt idx="342">6.4301039306639343</cx:pt>
          <cx:pt idx="343">6.1825282784616924</cx:pt>
          <cx:pt idx="344">6.1825282784616933</cx:pt>
          <cx:pt idx="345">6.495987181511798</cx:pt>
          <cx:pt idx="346">6.6638165950829737</cx:pt>
          <cx:pt idx="347">6.8452950642122818</cx:pt>
          <cx:pt idx="348">6.9506710436467385</cx:pt>
          <cx:pt idx="349">6.7910440706781214</cx:pt>
          <cx:pt idx="350">6.8528308254750216</cx:pt>
          <cx:pt idx="351">6.8358636804769972</cx:pt>
          <cx:pt idx="352">6.7889853866866714</cx:pt>
          <cx:pt idx="353">6.7610522817819749</cx:pt>
          <cx:pt idx="354">6.5319726474218083</cx:pt>
          <cx:pt idx="355">6.711889627041808</cx:pt>
          <cx:pt idx="356">6.680415929360036</cx:pt>
          <cx:pt idx="357">6.7791584468362922</cx:pt>
          <cx:pt idx="358">6.8949100752828203</cx:pt>
          <cx:pt idx="359">6.8476508804585805</cx:pt>
          <cx:pt idx="360">6.9562380143169307</cx:pt>
          <cx:pt idx="361">7.1121583010310419</cx:pt>
          <cx:pt idx="362">7.2237660329584843</cx:pt>
          <cx:pt idx="363">7.3885991804578461</cx:pt>
          <cx:pt idx="364">7.4926487270014572</cx:pt>
          <cx:pt idx="365">7.6471935958541764</cx:pt>
          <cx:pt idx="366">7.5898914098228838</cx:pt>
          <cx:pt idx="367">7.6174671939964984</cx:pt>
          <cx:pt idx="368">7.4222855361839297</cx:pt>
          <cx:pt idx="369">7.5099933422074345</cx:pt>
          <cx:pt idx="370">7.5742915492551699</cx:pt>
          <cx:pt idx="371">7.3301557142873115</cx:pt>
          <cx:pt idx="372">7.3534426141481442</cx:pt>
          <cx:pt idx="373">7.3608963923509183</cx:pt>
          <cx:pt idx="374">7.4237340979448652</cx:pt>
          <cx:pt idx="375">7.4687881010860639</cx:pt>
          <cx:pt idx="376">7.1912431814411377</cx:pt>
          <cx:pt idx="377">7.1142746099519139</cx:pt>
          <cx:pt idx="378">6.9972344767472698</cx:pt>
          <cx:pt idx="379">6.8603583090850497</cx:pt>
          <cx:pt idx="380">6.8283091942012204</cx:pt>
          <cx:pt idx="381">6.7942100587618457</cx:pt>
          <cx:pt idx="382">6.9921615099084464</cx:pt>
          <cx:pt idx="383">6.8419955587391641</cx:pt>
          <cx:pt idx="384">6.6483080554378651</cx:pt>
          <cx:pt idx="385">6.7208550403291891</cx:pt>
          <cx:pt idx="386">6.5896628073049772</cx:pt>
          <cx:pt idx="387">6.704195444580936</cx:pt>
          <cx:pt idx="388">6.5359222432563016</cx:pt>
          <cx:pt idx="389">6.3442463985560487</cx:pt>
          <cx:pt idx="390">6.5267028017495621</cx:pt>
          <cx:pt idx="391">6.61019089406002</cx:pt>
          <cx:pt idx="392">6.3642144689232163</cx:pt>
          <cx:pt idx="393">6.2341411701237766</cx:pt>
          <cx:pt idx="394">6.071615611106508</cx:pt>
          <cx:pt idx="395">5.8065591387893445</cx:pt>
          <cx:pt idx="396">5.7544746497507182</cx:pt>
          <cx:pt idx="397">5.6412459540405164</cx:pt>
          <cx:pt idx="398">5.6412459540405155</cx:pt>
          <cx:pt idx="399">5.6412459540405164</cx:pt>
          <cx:pt idx="400">5.7589574922766591</cx:pt>
          <cx:pt idx="401">5.7961796836132651</cx:pt>
          <cx:pt idx="402">6.0132470251060068</cx:pt>
          <cx:pt idx="403">6.1960792320194198</cx:pt>
          <cx:pt idx="404">6.4691160420563953</cx:pt>
          <cx:pt idx="405">6.6332495807107996</cx:pt>
          <cx:pt idx="406">6.6040066040099061</cx:pt>
          <cx:pt idx="407">6.6487932448605447</cx:pt>
          <cx:pt idx="408">6.72085504032919</cx:pt>
          <cx:pt idx="409">6.8506337513911033</cx:pt>
          <cx:pt idx="410">6.8526739149726259</cx:pt>
          <cx:pt idx="411">6.8589475351778706</cx:pt>
          <cx:pt idx="412">6.8691299475668046</cx:pt>
          <cx:pt idx="413">6.7299682850872022</cx:pt>
          <cx:pt idx="414">6.7487951931540913</cx:pt>
          <cx:pt idx="415">6.8500058865055937</cx:pt>
          <cx:pt idx="416">6.823268223315849</cx:pt>
          <cx:pt idx="417">6.8397950041594635</cx:pt>
          <cx:pt idx="418">6.6460433697891457</cx:pt>
          <cx:pt idx="419">6.7056387762725098</cx:pt>
          <cx:pt idx="420">6.5787209921437704</cx:pt>
          <cx:pt idx="421">6.7751919387166897</cx:pt>
          <cx:pt idx="422">6.8136485418322614</cx:pt>
          <cx:pt idx="423">6.8212192647696428</cx:pt>
          <cx:pt idx="424">6.8689734093913009</cx:pt>
          <cx:pt idx="425">7.1292220088599372</cx:pt>
          <cx:pt idx="426">7.4305385555696066</cx:pt>
          <cx:pt idx="427">7.2880812997837836</cx:pt>
          <cx:pt idx="428">7.4335768319247926</cx:pt>
          <cx:pt idx="429">7.3990699793379298</cx:pt>
          <cx:pt idx="430">7.387725944000354</cx:pt>
          <cx:pt idx="431">7.3028201946712974</cx:pt>
          <cx:pt idx="432">7.3028201946712965</cx:pt>
          <cx:pt idx="433">7.3028201946712974</cx:pt>
          <cx:pt idx="434">7.1570703443502985</cx:pt>
          <cx:pt idx="435">6.9227690401165116</cx:pt>
          <cx:pt idx="436">6.8301985991057244</cx:pt>
          <cx:pt idx="437">6.7809029753632606</cx:pt>
          <cx:pt idx="438">6.9739916217174329</cx:pt>
          <cx:pt idx="439">6.9348736915880149</cx:pt>
          <cx:pt idx="440">6.6781621320813702</cx:pt>
          <cx:pt idx="441">6.5821524733779677</cx:pt>
          <cx:pt idx="442">6.6492783988795701</cx:pt>
          <cx:pt idx="443">6.7766201490980205</cx:pt>
          <cx:pt idx="444">6.9903158819206634</cx:pt>
          <cx:pt idx="445">7.0715239950737079</cx:pt>
          <cx:pt idx="446">6.9587107939602229</cx:pt>
          <cx:pt idx="447">6.756916010910202</cx:pt>
          <cx:pt idx="448">6.9588653135128933</cx:pt>
          <cx:pt idx="449">6.9039493139095569</cx:pt>
          <cx:pt idx="450">6.8857028127712887</cx:pt>
          <cx:pt idx="451">6.8674078313859184</cx:pt>
          <cx:pt idx="452">6.6309797521270033</cx:pt>
          <cx:pt idx="453">6.4007728028042266</cx:pt>
          <cx:pt idx="454">6.4519731082241289</cx:pt>
          <cx:pt idx="455">6.4145332300284945</cx:pt>
          <cx:pt idx="456">6.3070194722749919</cx:pt>
          <cx:pt idx="457">6.0809945423142686</cx:pt>
          <cx:pt idx="458">6.1799189193275321</cx:pt>
          <cx:pt idx="459">6.1260943722786791</cx:pt>
          <cx:pt idx="460">6.1208264253311633</cx:pt>
          <cx:pt idx="461">6.3653970473091848</cx:pt>
          <cx:pt idx="462">6.0549455481777725</cx:pt>
          <cx:pt idx="463">5.8372183683300642</cx:pt>
          <cx:pt idx="464">5.5820372432424925</cx:pt>
          <cx:pt idx="465">5.4636629565911008</cx:pt>
          <cx:pt idx="466">5.4070841624469796</cx:pt>
          <cx:pt idx="467">5.5803033023516351</cx:pt>
          <cx:pt idx="468">5.5315322888297036</cx:pt>
          <cx:pt idx="469">5.4350515127491263</cx:pt>
          <cx:pt idx="470">5.2723665902861478</cx:pt>
          <cx:pt idx="471">5.3505099746890785</cx:pt>
          <cx:pt idx="472">5.3885581689154058</cx:pt>
          <cx:pt idx="473">5.1781177300063819</cx:pt>
          <cx:pt idx="474">5.1171228475149135</cx:pt>
          <cx:pt idx="475">5.2124746975998146</cx:pt>
          <cx:pt idx="476">5.370969356452985</cx:pt>
          <cx:pt idx="477">5.5906988810429254</cx:pt>
          <cx:pt idx="478">5.7469954749631844</cx:pt>
          <cx:pt idx="479">5.6236826414381618</cx:pt>
          <cx:pt idx="480">5.53464163831012</cx:pt>
          <cx:pt idx="481">5.6041459307287163</cx:pt>
          <cx:pt idx="482">5.9264306834013745</cx:pt>
          <cx:pt idx="483">5.8407172928180371</cx:pt>
          <cx:pt idx="484">5.8651513194460723</cx:pt>
          <cx:pt idx="485">5.7488661808735282</cx:pt>
          <cx:pt idx="486">5.6364787299446348</cx:pt>
          <cx:pt idx="487">5.5847334145711871</cx:pt>
          <cx:pt idx="488">5.7335083744222342</cx:pt>
          <cx:pt idx="489">5.8559775544548982</cx:pt>
          <cx:pt idx="490">5.766048198546124</cx:pt>
          <cx:pt idx="491">5.8614835363849513</cx:pt>
          <cx:pt idx="492">5.7766679386232926</cx:pt>
          <cx:pt idx="493">6.0307455984412313</cx:pt>
          <cx:pt idx="494">6.0977697315432238</cx:pt>
          <cx:pt idx="495">6.2661404491945643</cx:pt>
          <cx:pt idx="496">6.3657348864967105</cx:pt>
          <cx:pt idx="497">6.3999327953460758</cx:pt>
          <cx:pt idx="498">6.2880668687790333</cx:pt>
          <cx:pt idx="499">6.3701251654622864</cx:pt>
          <cx:pt idx="500">6.3349177418257714</cx:pt>
          <cx:pt idx="501">6.2683708504107809</cx:pt>
          <cx:pt idx="502">6.2004162191196954</cx:pt>
          <cx:pt idx="503">6.3186019959161603</cx:pt>
          <cx:pt idx="504">6.3518687454275833</cx:pt>
          <cx:pt idx="505">6.4494727633141595</cx:pt>
          <cx:pt idx="506">6.2406919936125504</cx:pt>
          <cx:pt idx="507">6.2873828256039035</cx:pt>
          <cx:pt idx="508">6.2434481787943374</cx:pt>
          <cx:pt idx="509">6.0977697315432247</cx:pt>
          <cx:pt idx="510">6.3491596260441625</cx:pt>
          <cx:pt idx="511">6.3613415775814675</cx:pt>
          <cx:pt idx="512">6.3613415775814675</cx:pt>
          <cx:pt idx="513">6.2115051073733119</cx:pt>
          <cx:pt idx="514">6.1986817884110241</cx:pt>
          <cx:pt idx="515">6.2721435686881843</cx:pt>
          <cx:pt idx="516">6.2308631756746591</cx:pt>
          <cx:pt idx="517">6.3231950546321709</cx:pt>
          <cx:pt idx="518">6.5206042334964991</cx:pt>
          <cx:pt idx="519">6.5060765641102405</cx:pt>
          <cx:pt idx="520">6.4677861795606804</cx:pt>
          <cx:pt idx="521">6.6931195613380146</cx:pt>
          <cx:pt idx="522">6.6592970018718773</cx:pt>
          <cx:pt idx="523">6.5446358236739304</cx:pt>
          <cx:pt idx="524">6.5083899533560707</cx:pt>
          <cx:pt idx="525">6.391358413169411</cx:pt>
          <cx:pt idx="526">6.2443092371744662</cx:pt>
          <cx:pt idx="527">6.3549151242608382</cx:pt>
          <cx:pt idx="528">6.2714577887201726</cx:pt>
          <cx:pt idx="529">6.1703418284216554</cx:pt>
          <cx:pt idx="530">6.1762639644966422</cx:pt>
          <cx:pt idx="531">6.1595279807982495</cx:pt>
          <cx:pt idx="532">6.2654540121602231</cx:pt>
          <cx:pt idx="533">6.4312743933516519</cx:pt>
          <cx:pt idx="534">6.3807506215666869</cx:pt>
          <cx:pt idx="535">6.3925359701007745</cx:pt>
          <cx:pt idx="536">6.4494727633141586</cx:pt>
          <cx:pt idx="537">6.5685794932496471</cx:pt>
          <cx:pt idx="538">6.2628792032082581</cx:pt>
          <cx:pt idx="539">6.2115051073733119</cx:pt>
          <cx:pt idx="540">6.468949824195346</cx:pt>
          <cx:pt idx="541">6.2692284857430112</cx:pt>
          <cx:pt idx="542">6.3391597421550401</cx:pt>
          <cx:pt idx="543">6.5098766980378295</cx:pt>
          <cx:pt idx="544">6.7267720613672797</cx:pt>
          <cx:pt idx="545">6.7267720613672797</cx:pt>
          <cx:pt idx="546">6.5872147262300755</cx:pt>
          <cx:pt idx="547">6.5594059526463919</cx:pt>
          <cx:pt idx="548">6.5347705243911687</cx:pt>
          <cx:pt idx="549">6.3964035593936419</cx:pt>
          <cx:pt idx="550">6.5083899533560716</cx:pt>
          <cx:pt idx="551">6.5083899533560716</cx:pt>
          <cx:pt idx="552">6.3291440587277696</cx:pt>
          <cx:pt idx="553">6.2704289781395728</cx:pt>
          <cx:pt idx="554">6.277969673852084</cx:pt>
          <cx:pt idx="555">6.0417899505404531</cx:pt>
          <cx:pt idx="556">6.2372450494149749</cx:pt>
          <cx:pt idx="557">6.3184318185101347</cx:pt>
          <cx:pt idx="558">6.3653970473091839</cx:pt>
          <cx:pt idx="559">6.584602436541771</cx:pt>
          <cx:pt idx="560">6.5176352991305908</cx:pt>
          <cx:pt idx="561">6.2904604341111847</cx:pt>
          <cx:pt idx="562">6.2754000001028087</cx:pt>
          <cx:pt idx="563">6.475263103385414</cx:pt>
          <cx:pt idx="564">6.359651035263064</cx:pt>
          <cx:pt idx="565">6.3900123681035348</cx:pt>
          <cx:pt idx="566">6.4316087721385449</cx:pt>
          <cx:pt idx="567">6.3528843673520647</cx:pt>
          <cx:pt idx="568">6.2566953385265434</cx:pt>
          <cx:pt idx="569">6.3039499479482348</cx:pt>
          <cx:pt idx="570">6.1345136779141791</cx:pt>
          <cx:pt idx="571">6.077280093375105</cx:pt>
          <cx:pt idx="572">6.2774558232538142</cx:pt>
          <cx:pt idx="573">6.3642144689232154</cx:pt>
          <cx:pt idx="574">6.700986927792921</cx:pt>
          <cx:pt idx="575">6.6040066040099061</cx:pt>
          <cx:pt idx="576">6.6667204298907414</cx:pt>
          <cx:pt idx="577">6.8528308254750216</cx:pt>
          <cx:pt idx="578">7.1307301048319722</cx:pt>
          <cx:pt idx="579">7.2367045312848219</cx:pt>
          <cx:pt idx="580">7.3276615407586876</cx:pt>
          <cx:pt idx="581">7.3614806832227968</cx:pt>
          <cx:pt idx="582">7.573723676143767</cx:pt>
          <cx:pt idx="583">7.4693639521355752</cx:pt>
          <cx:pt idx="584">7.5301544344356985</cx:pt>
          <cx:pt idx="585">7.6772250811238134</cx:pt>
          <cx:pt idx="586">7.6733024111182475</cx:pt>
          <cx:pt idx="587">7.3301557142873106</cx:pt>
          <cx:pt idx="588">7.3220832572298997</cx:pt>
          <cx:pt idx="589">6.9002103754745372</cx:pt>
          <cx:pt idx="590">6.4677861795606804</cx:pt>
          <cx:pt idx="591">6.4611327612996616</cx:pt>
          <cx:pt idx="592">6.4126890338734874</cx:pt>
          <cx:pt idx="593">6.3884977284027</cx:pt>
          <cx:pt idx="594">6.3884977284027</cx:pt>
          <cx:pt idx="595">6.1910445207625919</cx:pt>
          <cx:pt idx="596">5.5862734996510168</cx:pt>
          <cx:pt idx="597">5.2400443238706513</cx:pt>
          <cx:pt idx="598">4.8712454524551019</cx:pt>
          <cx:pt idx="599">4.1903627271330874</cx:pt>
          <cx:pt idx="600">3.1876778887743096</cx:pt>
          <cx:pt idx="601">3.0680455058239366</cx:pt>
          <cx:pt idx="602">3.0732981128296974</cx:pt>
          <cx:pt idx="603">3.0935242803505321</cx:pt>
          <cx:pt idx="604">3.1643171816059237</cx:pt>
          <cx:pt idx="605">3.1778805407350967</cx:pt>
          <cx:pt idx="606">3.2498138904529039</cx:pt>
          <cx:pt idx="607">3.2232355346496098</cx:pt>
          <cx:pt idx="608">3.2524597804824444</cx:pt>
          <cx:pt idx="609">3.2474969683034027</cx:pt>
          <cx:pt idx="610">3.2738783682190258</cx:pt>
          <cx:pt idx="611">3.3020033020049526</cx:pt>
          <cx:pt idx="612">3.2905861163700463</cx:pt>
          <cx:pt idx="613">3.1143096716901471</cx:pt>
          <cx:pt idx="614">3.206176834248716</cx:pt>
          <cx:pt idx="615">3.206176834248716</cx:pt>
          <cx:pt idx="616">3.2494830027169299</cx:pt>
          <cx:pt idx="617">3.1503541360925924</cx:pt>
          <cx:pt idx="618">3.1077426721221686</cx:pt>
          <cx:pt idx="619">3.0075174630120736</cx:pt>
          <cx:pt idx="620">4.6294986839307048</cx:pt>
          <cx:pt idx="621">5.0909998595455166</cx:pt>
          <cx:pt idx="622">5.2178354182182582</cx:pt>
          <cx:pt idx="623">5.9762972677284107</cx:pt>
          <cx:pt idx="624">6.7772548126582137</cx:pt>
          <cx:pt idx="625">6.7661396055129037</cx:pt>
          <cx:pt idx="626">7.2947174877308614</cx:pt>
          <cx:pt idx="627">7.2616239778508858</cx:pt>
          <cx:pt idx="628">7.2212351131326411</cx:pt>
          <cx:pt idx="629">7.187803289533754</cx:pt>
          <cx:pt idx="630">7.4196774123425202</cx:pt>
          <cx:pt idx="631">7.631006359879156</cx:pt>
          <cx:pt idx="632">7.6111124192239146</cx:pt>
          <cx:pt idx="633">7.526726572901782</cx:pt>
          <cx:pt idx="634">7.5257264858473931</cx:pt>
          <cx:pt idx="635">7.6152083260710857</cx:pt>
          <cx:pt idx="636">7.6106885789106684</cx:pt>
          <cx:pt idx="637">7.4228649948104817</cx:pt>
          <cx:pt idx="638">7.2005077479270172</cx:pt>
          <cx:pt idx="639">7.2877862178434718</cx:pt>
          <cx:pt idx="640">7.2984016515033385</cx:pt>
          <cx:pt idx="641">7.0648303558535108</cx:pt>
          <cx:pt idx="642">7.0924767046816326</cx:pt>
          <cx:pt idx="643">7.0681779678320371</cx:pt>
          <cx:pt idx="644">6.9689017354135121</cx:pt>
          <cx:pt idx="645">6.5456215358300849</cx:pt>
          <cx:pt idx="646">6.5092159645473648</cx:pt>
          <cx:pt idx="647">6.264767499912268</cx:pt>
          <cx:pt idx="648">6.041433996261385</cx:pt>
          <cx:pt idx="649">6.0111008420532537</cx:pt>
          <cx:pt idx="650">5.8543247500945741</cx:pt>
          <cx:pt idx="651">5.612390286783592</cx:pt>
          <cx:pt idx="652">5.6826466649158798</cx:pt>
          <cx:pt idx="653">5.688698473515772</cx:pt>
          <cx:pt idx="654">5.5005376081338291</cx:pt>
          <cx:pt idx="655">5.50053760813383</cx:pt>
          <cx:pt idx="656">5.3563348084903319</cx:pt>
          <cx:pt idx="657">5.3699682624560214</cx:pt>
          <cx:pt idx="658">5.3769720063423474</cx:pt>
          <cx:pt idx="659">5.4104637767542529</cx:pt>
          <cx:pt idx="660">5.4247540948182458</cx:pt>
          <cx:pt idx="661">5.1764562129637666</cx:pt>
          <cx:pt idx="662">4.9730456257407214</cx:pt>
          <cx:pt idx="663">4.9622228803207236</cx:pt>
          <cx:pt idx="664">5.2223671145918011</cx:pt>
          <cx:pt idx="665">5.2201017581644313</cx:pt>
          <cx:pt idx="666">5.0330093180620006</cx:pt>
          <cx:pt idx="667">5.2882503153547367</cx:pt>
          <cx:pt idx="668">5.3609500040791804</cx:pt>
          <cx:pt idx="669">5.3609500040791804</cx:pt>
          <cx:pt idx="670">5.3973310807934434</cx:pt>
          <cx:pt idx="671">5.3677651984607566</cx:pt>
          <cx:pt idx="672">5.7357584268501753</cx:pt>
          <cx:pt idx="673">5.5939675650006748</cx:pt>
          <cx:pt idx="674">5.6187091465138401</cx:pt>
          <cx:pt idx="675">5.7783429555390668</cx:pt>
          <cx:pt idx="676">5.7086992661926024</cx:pt>
          <cx:pt idx="677">5.8280006346816284</cx:pt>
          <cx:pt idx="678">5.5803033023516351</cx:pt>
          <cx:pt idx="679">5.620622549990558</cx:pt>
          <cx:pt idx="680">5.7267529128408512</cx:pt>
          <cx:pt idx="681">5.8618504179636535</cx:pt>
          <cx:pt idx="682">5.8464215688992462</cx:pt>
          <cx:pt idx="683">5.7798314519459151</cx:pt>
          <cx:pt idx="684">5.7904259133559863</cx:pt>
          <cx:pt idx="685">5.9095330310576397</cx:pt>
          <cx:pt idx="686">5.7881971119210869</cx:pt>
          <cx:pt idx="687">5.9153527240108312</cx:pt>
          <cx:pt idx="688">5.6532415289766487</cx:pt>
          <cx:pt idx="689">5.7043654288830892</cx:pt>
          <cx:pt idx="690">5.6625538521971031</cx:pt>
          <cx:pt idx="691">5.7139708054549407</cx:pt>
          <cx:pt idx="692">5.9349520565863463</cx:pt>
          <cx:pt idx="693">5.9349520565863463</cx:pt>
          <cx:pt idx="694">5.9427375032267795</cx:pt>
          <cx:pt idx="695">5.8331643600718897</cx:pt>
          <cx:pt idx="696">6.1252166957498302</cx:pt>
          <cx:pt idx="697">5.9732378064558178</cx:pt>
          <cx:pt idx="698">5.5639005425431378</cx:pt>
          <cx:pt idx="699">5.5553906785569849</cx:pt>
          <cx:pt idx="700">5.706626972025548</cx:pt>
          <cx:pt idx="701">5.3987254569147876</cx:pt>
          <cx:pt idx="702">5.4193996413918653</cx:pt>
          <cx:pt idx="703">5.2562303021507084</cx:pt>
          <cx:pt idx="704">5.2949560092398267</cx:pt>
          <cx:pt idx="705">5.3277524563890104</cx:pt>
          <cx:pt idx="706">5.2823504054967447</cx:pt>
          <cx:pt idx="707">5.4146356821020269</cx:pt>
          <cx:pt idx="708">5.4042993637383958</cx:pt>
          <cx:pt idx="709">5.6627437401551797</cx:pt>
          <cx:pt idx="710">5.6627437401551797</cx:pt>
          <cx:pt idx="711">5.6627437401551797</cx:pt>
          <cx:pt idx="712">5.4514474747439756</cx:pt>
          <cx:pt idx="713">5.4508557086928349</cx:pt>
          <cx:pt idx="714">5.7150997884024592</cx:pt>
          <cx:pt idx="715">5.6920997883030831</cx:pt>
          <cx:pt idx="716">5.6075985314858787</cx:pt>
          <cx:pt idx="717">5.8874753155659043</cx:pt>
          <cx:pt idx="718">5.7139708054549416</cx:pt>
          <cx:pt idx="719">5.6686271118616833</cx:pt>
          <cx:pt idx="720">5.8128519086441512</cx:pt>
          <cx:pt idx="721">5.8581805682218837</cx:pt>
          <cx:pt idx="722">6.1448466038580847</cx:pt>
          <cx:pt idx="723">6.0085959929464066</cx:pt>
          <cx:pt idx="724">6.0085959929464066</cx:pt>
          <cx:pt idx="725">6.1141471767471165</cx:pt>
          <cx:pt idx="726">6.232588650819384</cx:pt>
          <cx:pt idx="727">6.1002379646868246</cx:pt>
          <cx:pt idx="728">6.0864736334204697</cx:pt>
          <cx:pt idx="729">6.2668268110400094</cx:pt>
          <cx:pt idx="730">6.3874877690685246</cx:pt>
          <cx:pt idx="731">6.2496451512169093</cx:pt>
          <cx:pt idx="732">6.2494730960693499</cx:pt>
          <cx:pt idx="733">6.2287919745618074</cx:pt>
          <cx:pt idx="734">6.2343136484032202</cx:pt>
          <cx:pt idx="735">6.2256838809038673</cx:pt>
          <cx:pt idx="736">6.1997225050630238</cx:pt>
          <cx:pt idx="737">6.1663324524370635</cx:pt>
          <cx:pt idx="738">5.9885194824261729</cx:pt>
          <cx:pt idx="739">6.0385856066658743</cx:pt>
          <cx:pt idx="740">5.821724239285091</cx:pt>
          <cx:pt idx="741">5.9856459124514991</cx:pt>
          <cx:pt idx="742">5.8739446546976941</cx:pt>
          <cx:pt idx="743">5.9213482916813662</cx:pt>
          <cx:pt idx="744">5.9184421082956726</cx:pt>
          <cx:pt idx="745">5.7625039360423198</cx:pt>
          <cx:pt idx="746">5.7639965227243586</cx:pt>
          <cx:pt idx="747">5.9213482916813662</cx:pt>
          <cx:pt idx="748">5.6788610095327554</cx:pt>
          <cx:pt idx="749">5.7567165073708955</cx:pt>
          <cx:pt idx="750">5.8280006346816293</cx:pt>
          <cx:pt idx="751">5.6591347794175135</cx:pt>
          <cx:pt idx="752">5.6625538521971031</cx:pt>
          <cx:pt idx="753">5.3789714010518157</cx:pt>
          <cx:pt idx="754">5.5941597810496972</cx:pt>
          <cx:pt idx="755">5.5941597810496972</cx:pt>
          <cx:pt idx="756">5.6860515998097414</cx:pt>
          <cx:pt idx="757">5.5729762709102779</cx:pt>
          <cx:pt idx="758">5.7716399711857669</cx:pt>
          <cx:pt idx="759">5.7872681913213224</cx:pt>
          <cx:pt idx="760">5.561774297230456</cx:pt>
          <cx:pt idx="761">5.3753719551221746</cx:pt>
          <cx:pt idx="762">5.2674696543159865</cx:pt>
          <cx:pt idx="763">5.5797252023135808</cx:pt>
          <cx:pt idx="764">5.7602643308523902</cx:pt>
          <cx:pt idx="765">5.7469954749631853</cx:pt>
          <cx:pt idx="766">5.7066269720255471</cx:pt>
          <cx:pt idx="767">5.8008156638175796</cx:pt>
          <cx:pt idx="768">5.8215395369820486</cx:pt>
          <cx:pt idx="769">5.8008156638175796</cx:pt>
          <cx:pt idx="770">5.7036113818964669</cx:pt>
          <cx:pt idx="771">5.7086992661926033</cx:pt>
          <cx:pt idx="772">5.4662208053163308</cx:pt>
          <cx:pt idx="773">5.4255468977592427</cx:pt>
          <cx:pt idx="774">5.3893562964720179</cx:pt>
          <cx:pt idx="775">5.6507683367573049</cx:pt>
          <cx:pt idx="776">5.6560938685158293</cx:pt>
          <cx:pt idx="777">5.9595410085222218</cx:pt>
          <cx:pt idx="778">5.7904259133559863</cx:pt>
          <cx:pt idx="779">5.8348231584446992</cx:pt>
          <cx:pt idx="780">5.7496142928138267</cx:pt>
          <cx:pt idx="781">5.703611381896466</cx:pt>
          <cx:pt idx="782">5.703611381896466</cx:pt>
          <cx:pt idx="783">5.7602643308523902</cx:pt>
          <cx:pt idx="784">5.7837369324015615</cx:pt>
          <cx:pt idx="785">5.6095157247900342</cx:pt>
          <cx:pt idx="786">5.744375463213176</cx:pt>
          <cx:pt idx="787">5.5424073803621186</cx:pt>
          <cx:pt idx="788">5.5830003110440787</cx:pt>
          <cx:pt idx="789">5.3376326756948318</cx:pt>
          <cx:pt idx="790">5.3336021437633496</cx:pt>
          <cx:pt idx="791">5.5548099858136135</cx:pt>
          <cx:pt idx="792">5.6068314706066333</cx:pt>
          <cx:pt idx="793">5.6614143907000658</cx:pt>
          <cx:pt idx="794">5.5241405695599433</cx:pt>
          <cx:pt idx="795">5.6144973635367652</cx:pt>
          <cx:pt idx="796">5.6318983983992892</cx:pt>
          <cx:pt idx="797">5.8785193073861581</cx:pt>
          <cx:pt idx="798">5.790054506029775</cx:pt>
          <cx:pt idx="799">5.790054506029775</cx:pt>
          <cx:pt idx="800">5.754848353335861</cx:pt>
          <cx:pt idx="801">5.9496091856831725</cx:pt>
          <cx:pt idx="802">5.9816924997270071</cx:pt>
          <cx:pt idx="803">6.1294283969321546</cx:pt>
          <cx:pt idx="804">6.1306562647533207</cx:pt>
          <cx:pt idx="805">6.110100926607787</cx:pt>
          <cx:pt idx="806">5.9559313528255089</cx:pt>
          <cx:pt idx="807">5.9559313528255098</cx:pt>
          <cx:pt idx="808">5.7086992661926024</cx:pt>
          <cx:pt idx="809">5.726377375746587</cx:pt>
          <cx:pt idx="810">5.7160404371881315</cx:pt>
          <cx:pt idx="811">5.6860515998097414</cx:pt>
          <cx:pt idx="812">5.7509232545366045</cx:pt>
          <cx:pt idx="813">5.7291933039458964</cx:pt>
          <cx:pt idx="814">5.4723154659741411</cx:pt>
          <cx:pt idx="815">5.4801695288116896</cx:pt>
          <cx:pt idx="816">5.5075705472861021</cx:pt>
          <cx:pt idx="817">5.4340622243460279</cx:pt>
          <cx:pt idx="818">5.5323097900337448</cx:pt>
          <cx:pt idx="819">5.560227426307133</cx:pt>
          <cx:pt idx="820">5.7779707715217068</cx:pt>
          <cx:pt idx="821">5.9204402626177899</cx:pt>
          <cx:pt idx="822">5.6610345192338309</cx:pt>
          <cx:pt idx="823">5.6296068351421811</cx:pt>
          <cx:pt idx="824">5.495061321289433</cx:pt>
          <cx:pt idx="825">5.4328748404742448</cx:pt>
          <cx:pt idx="826">5.1671002246117501</cx:pt>
          <cx:pt idx="827">5.1816466847510343</cx:pt>
          <cx:pt idx="828">5.0511363567640561</cx:pt>
          <cx:pt idx="829">5.0511363567640553</cx:pt>
          <cx:pt idx="830">5.2326518287853174</cx:pt>
          <cx:pt idx="831">5.328156089289048</cx:pt>
          <cx:pt idx="832">5.2201017581644313</cx:pt>
          <cx:pt idx="833">5.1541819329404222</cx:pt>
          <cx:pt idx="834">4.8502300133906751</cx:pt>
          <cx:pt idx="835">4.7663696425993303</cx:pt>
          <cx:pt idx="836">4.671579595166766</cx:pt>
          <cx:pt idx="837">4.5384853709542341</cx:pt>
          <cx:pt idx="838">4.8190928517697689</cx:pt>
          <cx:pt idx="839">4.7888759989514593</cx:pt>
          <cx:pt idx="840">4.7888759989514593</cx:pt>
          <cx:pt idx="841">4.9151947860635437</cx:pt>
          <cx:pt idx="842">5.3388412419224087</cx:pt>
          <cx:pt idx="843">5.319066940571398</cx:pt>
          <cx:pt idx="844">5.3220983815404708</cx:pt>
          <cx:pt idx="845">5.3026672128177603</cx:pt>
          <cx:pt idx="846">5.4427617910375696</cx:pt>
          <cx:pt idx="847">5.5808813425067356</cx:pt>
          <cx:pt idx="848">5.734070970303133</cx:pt>
          <cx:pt idx="849">5.6068314706066342</cx:pt>
          <cx:pt idx="850">5.5664123308069033</cx:pt>
          <cx:pt idx="851">5.3873607558783823</cx:pt>
          <cx:pt idx="852">5.2351171536941976</cx:pt>
          <cx:pt idx="853">5.253570214625479</cx:pt>
          <cx:pt idx="854">5.3255319286040024</cx:pt>
          <cx:pt idx="855">5.5903142043382337</cx:pt>
          <cx:pt idx="856">5.7383823729396521</cx:pt>
          <cx:pt idx="857">6.0209312322286008</cx:pt>
          <cx:pt idx="858">6.0323500654245823</cx:pt>
          <cx:pt idx="859">5.9271563836041077</cx:pt>
          <cx:pt idx="860">6.1220560184037121</cx:pt>
          <cx:pt idx="861">6.1220560184037121</cx:pt>
          <cx:pt idx="862">6.0259296342547231</cx:pt>
          <cx:pt idx="863">6.1740002891069317</cx:pt>
          <cx:pt idx="864">6.1572581525374792</cx:pt>
          <cx:pt idx="865">6.2894347319383028</cx:pt>
          <cx:pt idx="866">6.3557610814701961</cx:pt>
          <cx:pt idx="867">6.2208459819531621</cx:pt>
          <cx:pt idx="868">6.2714577887201726</cx:pt>
          <cx:pt idx="869">6.1825282784616933</cx:pt>
          <cx:pt idx="870">6.2757426840621138</cx:pt>
          <cx:pt idx="871">6.2548046048746642</cx:pt>
          <cx:pt idx="872">6.4118505875440714</cx:pt>
          <cx:pt idx="873">6.491019437140312</cx:pt>
          <cx:pt idx="874">6.5191199353273763</cx:pt>
          <cx:pt idx="875">6.6588125777976765</cx:pt>
          <cx:pt idx="876">6.6470140438338738</cx:pt>
          <cx:pt idx="877">6.7615293809827142</cx:pt>
          <cx:pt idx="878">6.6929589065473261</cx:pt>
          <cx:pt idx="879">6.5855821666059464</cx:pt>
          <cx:pt idx="880">6.5947192950606457</cx:pt>
          <cx:pt idx="881">6.6757465049123494</cx:pt>
          <cx:pt idx="882">6.7078833416161299</cx:pt>
          <cx:pt idx="883">6.7155732987722496</cx:pt>
          <cx:pt idx="884">6.6929589065473252</cx:pt>
          <cx:pt idx="885">6.7070817973660599</cx:pt>
          <cx:pt idx="886">6.6575206079411648</cx:pt>
          <cx:pt idx="887">6.3687746327359287</cx:pt>
          <cx:pt idx="888">6.4192251567384071</cx:pt>
          <cx:pt idx="889">6.4523064143386852</cx:pt>
          <cx:pt idx="890">6.4381256873092658</cx:pt>
          <cx:pt idx="891">6.2258565934801817</cx:pt>
          <cx:pt idx="892">5.9640500059203294</cx:pt>
          <cx:pt idx="893">5.9102608060642225</cx:pt>
          <cx:pt idx="894">6.0023292969685809</cx:pt>
          <cx:pt idx="895">6.0205740447200711</cx:pt>
          <cx:pt idx="896">5.9719775727167841</cx:pt>
          <cx:pt idx="897">6.0832928264964545</cx:pt>
          <cx:pt idx="898">6.0150349260241489</cx:pt>
          <cx:pt idx="899">5.9912122025441557</cx:pt>
          <cx:pt idx="900">6.195905689391016</cx:pt>
          <cx:pt idx="901">6.1032337629810138</cx:pt>
          <cx:pt idx="902">6.252913299509502</cx:pt>
          <cx:pt idx="903">6.0385856066658743</cx:pt>
          <cx:pt idx="904">5.8996992815653941</cx:pt>
          <cx:pt idx="905">5.8022983951764031</cx:pt>
          <cx:pt idx="906">5.6204312389555975</cx:pt>
          <cx:pt idx="907">5.6894544969722967</cx:pt>
          <cx:pt idx="908">5.4184074952836685</cx:pt>
          <cx:pt idx="909">5.6619841501128398</cx:pt>
          <cx:pt idx="910">5.8010010259631759</cx:pt>
          <cx:pt idx="911">5.782435398669401</cx:pt>
          <cx:pt idx="912">5.8622172765814025</cx:pt>
          <cx:pt idx="913">5.75858405535429</cx:pt>
          <cx:pt idx="914">5.7451241599205858</cx:pt>
          <cx:pt idx="915">5.816550357773596</cx:pt>
          <cx:pt idx="916">5.6767778229919221</cx:pt>
          <cx:pt idx="917">5.6828358814868132</cx:pt>
          <cx:pt idx="918">5.721305212391079</cx:pt>
          <cx:pt idx="919">5.5367783031736639</cx:pt>
          <cx:pt idx="920">5.5056178542457204</cx:pt>
          <cx:pt idx="921">5.4946699490926987</cx:pt>
          <cx:pt idx="922">5.6566641638306212</cx:pt>
          <cx:pt idx="923">5.6786716605168328</cx:pt>
          <cx:pt idx="924">5.7107708083766111</cx:pt>
          <cx:pt idx="925">5.6494361694117803</cx:pt>
          <cx:pt idx="926">5.641436559211928</cx:pt>
          <cx:pt idx="927">5.4098675276448924</cx:pt>
          <cx:pt idx="928">5.1621034305752724</cx:pt>
          <cx:pt idx="929">5.1957385350622847</cx:pt>
          <cx:pt idx="930">5.1257309995326414</cx:pt>
          <cx:pt idx="931">5.0047289465021976</cx:pt>
          <cx:pt idx="932">5.009238776329151</cx:pt>
          <cx:pt idx="933">4.891071523210563</cx:pt>
          <cx:pt idx="934">4.846903456669998</cx:pt>
          <cx:pt idx="935">4.8135114493598419</cx:pt>
          <cx:pt idx="936">4.9064364134848315</cx:pt>
          <cx:pt idx="937">4.739447815030549</cx:pt>
          <cx:pt idx="938">4.7112311474529855</cx:pt>
          <cx:pt idx="939">4.735362279063609</cx:pt>
          <cx:pt idx="940">4.8798466395785889</cx:pt>
          <cx:pt idx="941">4.7212628163072177</cx:pt>
          <cx:pt idx="942">4.9797439153399843</cx:pt>
          <cx:pt idx="943">5.1895262592744364</cx:pt>
          <cx:pt idx="944">5.1814391657103327</cx:pt>
          <cx:pt idx="945">5.2973923388208517</cx:pt>
          <cx:pt idx="946">5.2629767937150165</cx:pt>
          <cx:pt idx="947">5.2375813181769439</cx:pt>
          <cx:pt idx="948">5.1481283789792585</cx:pt>
          <cx:pt idx="949">5.1311823450413954</cx:pt>
          <cx:pt idx="950">5.2652237032400899</cx:pt>
          <cx:pt idx="951">5.4281227076248246</cx:pt>
          <cx:pt idx="952">5.5966579889395858</cx:pt>
          <cx:pt idx="953">5.7198014853889871</cx:pt>
          <cx:pt idx="954">5.8071146574836359</cx:pt>
          <cx:pt idx="955">5.9046182034939623</cx:pt>
          <cx:pt idx="956">5.8276316220726114</cx:pt>
          <cx:pt idx="957">5.8143315706023531</cx:pt>
          <cx:pt idx="958">5.9940831040338853</cx:pt>
          <cx:pt idx="959">6.157607411345583</cx:pt>
          <cx:pt idx="960">6.1324099351644152</cx:pt>
          <cx:pt idx="961">6.1250411453522551</cx:pt>
          <cx:pt idx="962">5.899699281565395</cx:pt>
          <cx:pt idx="963">6.0252158306944992</cx:pt>
          <cx:pt idx="964">6.0252158306944992</cx:pt>
          <cx:pt idx="965">6.0203954430188871</cx:pt>
          <cx:pt idx="966">6.0528141504415069</cx:pt>
          <cx:pt idx="967">6.1329359385050202</cx:pt>
          <cx:pt idx="968">6.1294283969321546</cx:pt>
          <cx:pt idx="969">6.1790488880806196</cx:pt>
          <cx:pt idx="970">6.2262020042598571</cx:pt>
          <cx:pt idx="971">5.9423756156094054</cx:pt>
          <cx:pt idx="972">5.9423756156094054</cx:pt>
          <cx:pt idx="973">5.7660481985461249</cx:pt>
          <cx:pt idx="974">5.5315322888297036</cx:pt>
          <cx:pt idx="975">5.6332347131406957</cx:pt>
          <cx:pt idx="976">5.6236826414381618</cx:pt>
          <cx:pt idx="977">5.5526802595247773</cx:pt>
          <cx:pt idx="978">5.8843696732626256</cx:pt>
          <cx:pt idx="979">5.8019277478608631</cx:pt>
          <cx:pt idx="980">5.9157162647249377</cx:pt>
          <cx:pt idx="981">5.7527926832030021</cx:pt>
          <cx:pt idx="982">5.702102988777356</cx:pt>
          <cx:pt idx="983">5.7021029887773569</cx:pt>
          <cx:pt idx="984">5.702102988777356</cx:pt>
          <cx:pt idx="985">5.5878131602603256</cx:pt>
          <cx:pt idx="986">5.6490554924685643</cx:pt>
          <cx:pt idx="987">5.807299818572802</cx:pt>
          <cx:pt idx="988">5.7898687934323085</cx:pt>
          <cx:pt idx="989">5.6726091548471693</cx:pt>
          <cx:pt idx="990">5.4070841624469796</cx:pt>
          <cx:pt idx="991">5.4245558759785037</cx:pt>
          <cx:pt idx="992">5.5060084482552387</cx:pt>
          <cx:pt idx="993">5.5225831574710398</cx:pt>
          <cx:pt idx="994">5.3283578942730916</cx:pt>
          <cx:pt idx="995">5.3468913689945072</cx:pt>
          <cx:pt idx="996">5.3657616280880722</cx:pt>
          <cx:pt idx="997">5.6446758623855313</cx:pt>
          <cx:pt idx="998">5.5383317235039184</cx:pt>
          <cx:pt idx="999">5.5157643091396222</cx:pt>
          <cx:pt idx="1000">5.5060084482552378</cx:pt>
          <cx:pt idx="1001">5.516933853127564</cx:pt>
          <cx:pt idx="1002">5.6849168481071448</cx:pt>
          <cx:pt idx="1003">5.6284607036447465</cx:pt>
          <cx:pt idx="1004">5.7028572352077429</cx:pt>
          <cx:pt idx="1005">5.6448663517422855</cx:pt>
          <cx:pt idx="1006">5.5542292323590123</cx:pt>
          <cx:pt idx="1007">5.6269321651676085</cx:pt>
          <cx:pt idx="1008">5.6123902867835911</cx:pt>
          <cx:pt idx="1009">5.3505099746890794</cx:pt>
          <cx:pt idx="1010">5.3505099746890794</cx:pt>
          <cx:pt idx="1011">5.5026875154303561</cx:pt>
          <cx:pt idx="1012">5.5048365830832449</cx:pt>
          <cx:pt idx="1013">5.377371944756848</cx:pt>
          <cx:pt idx="1014">5.493691396619429</cx:pt>
          <cx:pt idx="1015">5.4104637767542521</cx:pt>
          <cx:pt idx="1016">5.5830003110440778</cx:pt>
          <cx:pt idx="1017">5.5830003110440778</cx:pt>
          <cx:pt idx="1018">5.1860026664005856</cx:pt>
          <cx:pt idx="1019">5.33803556150706</cx:pt>
          <cx:pt idx="1020">5.6794290187037841</cx:pt>
          <cx:pt idx="1021">5.7218690081333179</cx:pt>
          <cx:pt idx="1022">5.9044360942767291</cx:pt>
          <cx:pt idx="1023">6.0134258391187183</cx:pt>
          <cx:pt idx="1024">6.2173880350589856</cx:pt>
          <cx:pt idx="1025">6.233623706651616</cx:pt>
          <cx:pt idx="1026">6.4637949504366494</cx:pt>
          <cx:pt idx="1027">6.4983041625679023</cx:pt>
          <cx:pt idx="1028">6.0960060960091456</cx:pt>
          <cx:pt idx="1029">6.032884792927109</cx:pt>
          <cx:pt idx="1030">5.9856459124515</cx:pt>
          <cx:pt idx="1031">5.9640500059203303</cx:pt>
          <cx:pt idx="1032">5.7746200359105693</cx:pt>
          <cx:pt idx="1033">5.2815361076029781</cx:pt>
          <cx:pt idx="1034">5.2886569630784601</cx:pt>
          <cx:pt idx="1035">4.8860125132432772</cx:pt>
          <cx:pt idx="1036">4.6644387923213042</cx:pt>
          <cx:pt idx="1037">4.6821555554211667</cx:pt>
          <cx:pt idx="1038">3.8414826886648616</cx:pt>
          <cx:pt idx="1039">3.7856548701247079</cx:pt>
          <cx:pt idx="1040">2.8135616275919868</cx:pt>
          <cx:pt idx="1041">2.5310969189075361</cx:pt>
          <cx:pt idx="1042">2.5310969189075361</cx:pt>
          <cx:pt idx="1043">2.5786551466978671</cx:pt>
          <cx:pt idx="1044">2.6900853406137406</cx:pt>
          <cx:pt idx="1045">2.8150899066984878</cx:pt>
          <cx:pt idx="1046">2.9526732921020016</cx:pt>
          <cx:pt idx="1047">2.9534015380847367</cx:pt>
          <cx:pt idx="1048">2.9639409974827666</cx:pt>
          <cx:pt idx="1049">2.7993854932439985</cx:pt>
          <cx:pt idx="1050">2.8631886878732939</cx:pt>
          <cx:pt idx="1051">2.9197142296457201</cx:pt>
          <cx:pt idx="1052">2.9726350498816609</cx:pt>
          <cx:pt idx="1053">3.0655912092719726</cx:pt>
          <cx:pt idx="1054">3.1377000000514039</cx:pt>
          <cx:pt idx="1055">3.1394129990325612</cx:pt>
          <cx:pt idx="1056">3.1073966561246449</cx:pt>
          <cx:pt idx="1057">3.0753966437077733</cx:pt>
          <cx:pt idx="1058">3.128089870281725</cx:pt>
          <cx:pt idx="1059">3.1920600420148673</cx:pt>
          <cx:pt idx="1060">3.0296030472086461</cx:pt>
          <cx:pt idx="1061">3.0437667665299619</cx:pt>
          <cx:pt idx="1062">3.0046558853298504</cx:pt>
          <cx:pt idx="1063">3.0103763205615759</cx:pt>
          <cx:pt idx="1064">2.994259741213086</cx:pt>
          <cx:pt idx="1065">3.0103763205615759</cx:pt>
          <cx:pt idx="1066">3.03315017762062</cx:pt>
          <cx:pt idx="1067">3.6895668073374761</cx:pt>
          <cx:pt idx="1068">3.8862868919383202</cx:pt>
          <cx:pt idx="1069">4.0859054878831902</cx:pt>
          <cx:pt idx="1070">4.0618868437196509</cx:pt>
          <cx:pt idx="1071">4.4412533346788159</cx:pt>
          <cx:pt idx="1072">4.5637656588882063</cx:pt>
          <cx:pt idx="1073">4.6828444622968766</cx:pt>
          <cx:pt idx="1074">4.6653608003936267</cx:pt>
          <cx:pt idx="1075">4.5311348242685208</cx:pt>
          <cx:pt idx="1076">5.2915026221291814</cx:pt>
          <cx:pt idx="1077">5.9198953783257497</cx:pt>
          <cx:pt idx="1078">6.2382793326572079</cx:pt>
          <cx:pt idx="1079">6.2396581102920479</cx:pt>
          <cx:pt idx="1080">6.4180524966271779</cx:pt>
          <cx:pt idx="1081">6.2851591711309593</cx:pt>
          <cx:pt idx="1082">6.3138352947342753</cx:pt>
          <cx:pt idx="1083">6.2134090170294787</cx:pt>
          <cx:pt idx="1084">6.0098485479995647</cx:pt>
          <cx:pt idx="1085">6.0330630248958608</cx:pt>
          <cx:pt idx="1086">6.3964035593936446</cx:pt>
          <cx:pt idx="1087">6.3701251654622872</cx:pt>
          <cx:pt idx="1088">6.1778306384886816</cx:pt>
          <cx:pt idx="1089">6.3873194269870037</cx:pt>
          <cx:pt idx="1090">6.3873194269870028</cx:pt>
          <cx:pt idx="1091">6.3873194269870037</cx:pt>
          <cx:pt idx="1092">6.1359157723677562</cx:pt>
          <cx:pt idx="1093">6.027000181084758</cx:pt>
          <cx:pt idx="1094">5.9371257663613113</cx:pt>
          <cx:pt idx="1095">5.8296609023646599</cx:pt>
          <cx:pt idx="1096">5.6047215118867806</cx:pt>
          <cx:pt idx="1097">5.5642870453078404</cx:pt>
          <cx:pt idx="1098">5.7779707715217068</cx:pt>
          <cx:pt idx="1099">5.7779707715217068</cx:pt>
          <cx:pt idx="1100">6.0497933849016698</cx:pt>
          <cx:pt idx="1101">6.1635417830844599</cx:pt>
          <cx:pt idx="1102">6.3964035593936419</cx:pt>
          <cx:pt idx="1103">6.4799110574010168</cx:pt>
          <cx:pt idx="1104">6.4931725930072615</cx:pt>
          <cx:pt idx="1105">6.3294838329359715</cx:pt>
          <cx:pt idx="1106">6.4342831768581652</cx:pt>
          <cx:pt idx="1107">6.5413490437239297</cx:pt>
          <cx:pt idx="1108">6.4958216512409876</cx:pt>
          <cx:pt idx="1109">6.7030726384024009</cx:pt>
          <cx:pt idx="1110">6.7357176657812996</cx:pt>
          <cx:pt idx="1111">6.7274114275944958</cx:pt>
          <cx:pt idx="1112">6.6825080604885638</cx:pt>
          <cx:pt idx="1113">6.6502486007376378</cx:pt>
          <cx:pt idx="1114">6.7521402421352557</cx:pt>
          <cx:pt idx="1115">6.9443254470091258</cx:pt>
          <cx:pt idx="1116">7.1095876504295088</cx:pt>
          <cx:pt idx="1117">7.1448906475600751</cx:pt>
          <cx:pt idx="1118">7.3201739211960772</cx:pt>
          <cx:pt idx="1119">7.5515433158800658</cx:pt>
          <cx:pt idx="1120">7.389617825902989</cx:pt>
          <cx:pt idx="1121">7.3119433893481594</cx:pt>
          <cx:pt idx="1122">7.0892922436678418</cx:pt>
          <cx:pt idx="1123">7.2851299425315608</cx:pt>
          <cx:pt idx="1124">7.2866057705844085</cx:pt>
          <cx:pt idx="1125">7.3990699793379289</cx:pt>
          <cx:pt idx="1126">7.5757110458004107</cx:pt>
          <cx:pt idx="1127">7.6194431540956211</cx:pt>
          <cx:pt idx="1128">7.7308208747745208</cx:pt>
          <cx:pt idx="1129">7.654501802825731</cx:pt>
          <cx:pt idx="1130">7.7310990469090672</cx:pt>
          <cx:pt idx="1131">7.6884216817880926</cx:pt>
          <cx:pt idx="1132">7.4539446149391706</cx:pt>
          <cx:pt idx="1133">7.3247261316192436</cx:pt>
          <cx:pt idx="1134">7.1943825158901751</cx:pt>
          <cx:pt idx="1135">7.292800987039147</cx:pt>
          <cx:pt idx="1136">7.2992855741142995</cx:pt>
          <cx:pt idx="1137">7.2908839825711009</cx:pt>
          <cx:pt idx="1138">7.17717409270454</cx:pt>
          <cx:pt idx="1139">7.112763024975763</cx:pt>
          <cx:pt idx="1140">6.9698274457590346</cx:pt>
          <cx:pt idx="1141">6.8641189552817403</cx:pt>
          <cx:pt idx="1142">6.9698274457590337</cx:pt>
          <cx:pt idx="1143">6.8201157244304627</cx:pt>
          <cx:pt idx="1144">6.8380655001942063</cx:pt>
          <cx:pt idx="1145">6.8078070301044651</cx:pt>
          <cx:pt idx="1146">6.6916735293688614</cx:pt>
          <cx:pt idx="1147">6.5158202843920296</cx:pt>
          <cx:pt idx="1148">6.4327789610160186</cx:pt>
          <cx:pt idx="1149">6.2455145194694097</cx:pt>
          <cx:pt idx="1150">5.9095330310576388</cx:pt>
          <cx:pt idx="1151">5.9240715437876004</cx:pt>
          <cx:pt idx="1152">5.8642345887445497</cx:pt>
          <cx:pt idx="1153">5.8061887634651743</cx:pt>
          <cx:pt idx="1154">5.7203654293376491</cx:pt>
          <cx:pt idx="1155">5.732195435967709</cx:pt>
          <cx:pt idx="1156">5.5011240298140738</cx:pt>
          <cx:pt idx="1157">5.3022616395858542</cx:pt>
          <cx:pt idx="1158">5.3022616395858542</cx:pt>
          <cx:pt idx="1159">5.1774947235997484</cx:pt>
          <cx:pt idx="1160">5.0462378193097726</cx:pt>
          <cx:pt idx="1161">5.0530518831032536</cx:pt>
          <cx:pt idx="1162">5.0321546722215622</cx:pt>
          <cx:pt idx="1163">5.3200776128221676</cx:pt>
          <cx:pt idx="1164">5.5677643628300215</cx:pt>
          <cx:pt idx="1165">5.5586801249201949</cx:pt>
          <cx:pt idx="1166">5.4158270647888047</cx:pt>
          <cx:pt idx="1167">5.4158270647888047</cx:pt>
          <cx:pt idx="1168">5.4693672846704731</cx:pt>
          <cx:pt idx="1169">5.440390561565005</cx:pt>
          <cx:pt idx="1170">5.5437652667959645</cx:pt>
          <cx:pt idx="1171">5.5437652667959645</cx:pt>
          <cx:pt idx="1172">5.711900423818058</cx:pt>
          <cx:pt idx="1173">5.7582105942134341</cx:pt>
          <cx:pt idx="1174">5.8581805682218846</cx:pt>
          <cx:pt idx="1175">6.0744485125139382</cx:pt>
          <cx:pt idx="1176">5.9852866192003287</cx:pt>
          <cx:pt idx="1177">5.8940465680410563</cx:pt>
          <cx:pt idx="1178">5.9322337992919962</cx:pt>
          <cx:pt idx="1179">6.0958297043918677</cx:pt>
          <cx:pt idx="1180">6.0802872031770248</cx:pt>
          <cx:pt idx="1181">6.3694499348937725</cx:pt>
          <cx:pt idx="1182">6.5661235515807697</cx:pt>
          <cx:pt idx="1183">6.5661235515807697</cx:pt>
          <cx:pt idx="1184">6.6067739756700776</cx:pt>
          <cx:pt idx="1185">6.5057460127794489</cx:pt>
          <cx:pt idx="1186">6.5047542580015456</cx:pt>
          <cx:pt idx="1187">6.4948283810216845</cx:pt>
          <cx:pt idx="1188">6.6100282237127841</cx:pt>
          <cx:pt idx="1189">6.4076567102279309</cx:pt>
          <cx:pt idx="1190">6.4489725780024818</cx:pt>
          <cx:pt idx="1191">6.5037623519915613</cx:pt>
          <cx:pt idx="1192">6.6129556777358571</cx:pt>
          <cx:pt idx="1193">6.7624834784048771</cx:pt>
          <cx:pt idx="1194">6.7109283366599097</cx:pt>
          <cx:pt idx="1195">6.5158202843920296</cx:pt>
          <cx:pt idx="1196">6.7339614313671108</cx:pt>
          <cx:pt idx="1197">6.8589475351778697</cx:pt>
          <cx:pt idx="1198">6.8589475351778697</cx:pt>
          <cx:pt idx="1199">6.808596716454268</cx:pt>
          <cx:pt idx="1200">6.8284666645775856</cx:pt>
          <cx:pt idx="1201">6.7815372381067078</cx:pt>
          <cx:pt idx="1202">6.9064408150061496</cx:pt>
          <cx:pt idx="1203">7.1991636312315697</cx:pt>
          <cx:pt idx="1204">7.472098638569765</cx:pt>
          <cx:pt idx="1205">7.6350915944678741</cx:pt>
          <cx:pt idx="1206">7.5015410603135333</cx:pt>
          <cx:pt idx="1207">7.5803934984536161</cx:pt>
          <cx:pt idx="1208">7.6784855137550556</cx:pt>
          <cx:pt idx="1209">7.6921968561080307</cx:pt>
          <cx:pt idx="1210">7.7189892925774144</cx:pt>
          <cx:pt idx="1211">7.6405820867035992</cx:pt>
          <cx:pt idx="1212">7.7454114060818204</cx:pt>
          <cx:pt idx="1213">7.3506637839392521</cx:pt>
          <cx:pt idx="1214">7.3655694215196839</cx:pt>
          <cx:pt idx="1215">7.3322091024861411</cx:pt>
          <cx:pt idx="1216">7.3373400588895255</cx:pt>
          <cx:pt idx="1217">7.2096112671666228</cx:pt>
          <cx:pt idx="1218">7.2313534776194954</cx:pt>
          <cx:pt idx="1219">6.9835444061821699</cx:pt>
          <cx:pt idx="1220">7.0511190296216437</cx:pt>
          <cx:pt idx="1221">7.1142746099519147</cx:pt>
          <cx:pt idx="1222">7.1142746099519147</cx:pt>
          <cx:pt idx="1223">6.6550974884403598</cx:pt>
          <cx:pt idx="1224">5.8805310271514033</cx:pt>
          <cx:pt idx="1225">4.8769812626828033</cx:pt>
          <cx:pt idx="1226">4.8264504199166902</cx:pt>
          <cx:pt idx="1227">4.8508950509879014</cx:pt>
          <cx:pt idx="1228">3.7046904300893622</cx:pt>
          <cx:pt idx="1229">3.6272564352843628</cx:pt>
          <cx:pt idx="1230">3.6673508648057376</cx:pt>
          <cx:pt idx="1231">3.5017660674862126</cx:pt>
          <cx:pt idx="1232">3.31630056876116</cx:pt>
          <cx:pt idx="1233">3.4140758600966414</cx:pt>
          <cx:pt idx="1234">3.4140758600966414</cx:pt>
          <cx:pt idx="1235">3.4820584691810823</cx:pt>
          <cx:pt idx="1236">3.4913102571710746</cx:pt>
          <cx:pt idx="1237">3.5475267774266541</cx:pt>
          <cx:pt idx="1238">3.6594258906913759</cx:pt>
          <cx:pt idx="1239">3.6758438428460543</cx:pt>
          <cx:pt idx="1240">3.6216196697414351</cx:pt>
          <cx:pt idx="1241">3.5420667073249454</cx:pt>
          <cx:pt idx="1242">3.3837054194464673</cx:pt>
          <cx:pt idx="1243">3.4093483122113661</cx:pt>
          <cx:pt idx="1244">3.3514561110830803</cx:pt>
          <cx:pt idx="1245">3.3514561110830803</cx:pt>
          <cx:pt idx="1246">3.3101343246629469</cx:pt>
          <cx:pt idx="1247">3.3871991791995191</cx:pt>
          <cx:pt idx="1248">3.3871991791995195</cx:pt>
          <cx:pt idx="1249">4.9123500278073555</cx:pt>
          <cx:pt idx="1250">5.8528551988319872</cx:pt>
          <cx:pt idx="1251">5.8357445093573643</cx:pt>
          <cx:pt idx="1252">5.8478927369066538</cx:pt>
          <cx:pt idx="1253">5.9885194824261747</cx:pt>
          <cx:pt idx="1254">6.5380606114611526</cx:pt>
          <cx:pt idx="1255">7.1027784961655254</cx:pt>
          <cx:pt idx="1256">7.4723864420802633</cx:pt>
          <cx:pt idx="1257">7.3931092590417613</cx:pt>
          <cx:pt idx="1258">7.5117112864921065</cx:pt>
          <cx:pt idx="1259">7.5937155680886717</cx:pt>
          <cx:pt idx="1260">7.5275836846249851</cx:pt>
          <cx:pt idx="1261">7.5301544344356994</cx:pt>
          <cx:pt idx="1262">7.6440995587784011</cx:pt>
          <cx:pt idx="1263">7.6088516647332511</cx:pt>
          <cx:pt idx="1264">7.4156185075462426</cx:pt>
          <cx:pt idx="1265">7.2430908865896368</cx:pt>
          <cx:pt idx="1266">7.0216255814769566</cx:pt>
          <cx:pt idx="1267">7.2743473268918155</cx:pt>
          <cx:pt idx="1268">7.2151274774690588</cx:pt>
          <cx:pt idx="1269">7.3028201946712983</cx:pt>
          <cx:pt idx="1270">7.0774517010464422</cx:pt>
          <cx:pt idx="1271">6.8419955587391659</cx:pt>
          <cx:pt idx="1272">7.0707636733758239</cx:pt>
          <cx:pt idx="1273">7.0939926122597337</cx:pt>
          <cx:pt idx="1274">6.8534584315598117</cx:pt>
          <cx:pt idx="1275">6.8185389284127114</cx:pt>
          <cx:pt idx="1276">6.6668817169616119</cx:pt>
          <cx:pt idx="1277">6.5149951105371198</cx:pt>
          <cx:pt idx="1278">6.4898597496319193</cx:pt>
          <cx:pt idx="1279">6.5551424449143969</cx:pt>
          <cx:pt idx="1280">6.4662897573342972</cx:pt>
          <cx:pt idx="1281">6.3250653445559939</cx:pt>
          <cx:pt idx="1282">6.3250653445559939</cx:pt>
          <cx:pt idx="1283">6.3080423151293425</cx:pt>
          <cx:pt idx="1284">6.3175808627186756</cx:pt>
          <cx:pt idx="1285">6.2203274124662915</cx:pt>
          <cx:pt idx="1286">6.1865271582342451</cx:pt>
          <cx:pt idx="1287">6.3083832258932384</cx:pt>
          <cx:pt idx="1288">6.0997091416643157</cx:pt>
          <cx:pt idx="1289">6.4024524870913622</cx:pt>
          <cx:pt idx="1290">6.3701251654622864</cx:pt>
          <cx:pt idx="1291">6.4172147510653197</cx:pt>
          <cx:pt idx="1292">6.2762566749187663</cx:pt>
          <cx:pt idx="1293">6.2762566749187663</cx:pt>
          <cx:pt idx="1294">6.3701251654622855</cx:pt>
          <cx:pt idx="1295">6.5215935779300844</cx:pt>
          <cx:pt idx="1296">6.5896628073049763</cx:pt>
          <cx:pt idx="1297">6.7099669085606157</cx:pt>
          <cx:pt idx="1298">6.5533378181763062</cx:pt>
          <cx:pt idx="1299">6.5533378181763045</cx:pt>
          <cx:pt idx="1300">6.6066112211902546</cx:pt>
          <cx:pt idx="1301">6.6610729220688079</cx:pt>
          <cx:pt idx="1302">6.5459500735639145</cx:pt>
          <cx:pt idx="1303">6.2432759528676876</cx:pt>
          <cx:pt idx="1304">6.1039384430160366</cx:pt>
          <cx:pt idx="1305">6.2788259980651224</cx:pt>
          <cx:pt idx="1306">6.1743486008777717</cx:pt>
          <cx:pt idx="1307">5.9815127370637544</cx:pt>
          <cx:pt idx="1308">5.9815127370637535</cx:pt>
          <cx:pt idx="1309">5.9685555969579855</cx:pt>
          <cx:pt idx="1310">5.9541257043520517</cx:pt>
          <cx:pt idx="1311">6.0380513840252332</cx:pt>
          <cx:pt idx="1312">6.0030458218961602</cx:pt>
          <cx:pt idx="1313">5.9860051841370918</cx:pt>
          <cx:pt idx="1314">5.981692499727008</cx:pt>
          <cx:pt idx="1315">6.0060900991884809</cx:pt>
          <cx:pt idx="1316">6.0075221664713956</cx:pt>
          <cx:pt idx="1317">5.8015570768655742</cx:pt>
          <cx:pt idx="1318">5.6903993850423484</cx:pt>
          <cx:pt idx="1319">5.7893116198955861</cx:pt>
          <cx:pt idx="1320">5.5639005425431378</cx:pt>
          <cx:pt idx="1321">5.5613876198359442</cx:pt>
          <cx:pt idx="1322">5.7469954749631853</cx:pt>
          <cx:pt idx="1323">5.8102615935038795</cx:pt>
          <cx:pt idx="1324">6.1111567284058248</cx:pt>
          <cx:pt idx="1325">5.9463551680795392</cx:pt>
          <cx:pt idx="1326">5.6091323385527136</cx:pt>
          <cx:pt idx="1327">5.5081562202098588</cx:pt>
          <cx:pt idx="1328">5.4080783858924413</cx:pt>
          <cx:pt idx="1329">5.7720125634182446</cx:pt>
          <cx:pt idx="1330">5.7720125634182446</cx:pt>
          <cx:pt idx="1331">5.7985908558871859</cx:pt>
          <cx:pt idx="1332">5.7299439844134721</cx:pt>
          <cx:pt idx="1333">5.8178442595137412</cx:pt>
          <cx:pt idx="1334">5.8559775544548982</cx:pt>
          <cx:pt idx="1335">5.8618504179636535</cx:pt>
          <cx:pt idx="1336">5.6568542494923806</cx:pt>
          <cx:pt idx="1337">5.8276316220726114</cx:pt>
          <cx:pt idx="1338">6.0107430703752849</cx:pt>
          <cx:pt idx="1339">5.9213482916813662</cx:pt>
          <cx:pt idx="1340">6.1195965851999921</cx:pt>
          <cx:pt idx="1341">5.9852866192003287</cx:pt>
          <cx:pt idx="1342">5.8302142198603955</cx:pt>
          <cx:pt idx="1343">5.9843882916975284</cx:pt>
          <cx:pt idx="1344">5.8447660622629423</cx:pt>
          <cx:pt idx="1345">6.0634636469471372</cx:pt>
          <cx:pt idx="1346">6.2709434045281975</cx:pt>
          <cx:pt idx="1347">6.2709434045281975</cx:pt>
          <cx:pt idx="1348">6.22274703367904</cx:pt>
          <cx:pt idx="1349">6.5034316830358101</cx:pt>
          <cx:pt idx="1350">6.413527370592047</cx:pt>
          <cx:pt idx="1351">6.391358413169411</cx:pt>
          <cx:pt idx="1352">6.4549722436790278</cx:pt>
          <cx:pt idx="1353">6.2353484178891811</cx:pt>
          <cx:pt idx="1354">6.3670860639884985</cx:pt>
          <cx:pt idx="1355">6.1348642315690203</cx:pt>
          <cx:pt idx="1356">6.1176634797619363</cx:pt>
          <cx:pt idx="1357">6.1294283969321546</cx:pt>
          <cx:pt idx="1358">6.2460309978262556</cx:pt>
          <cx:pt idx="1359">6.1453715427018292</cx:pt>
          <cx:pt idx="1360">5.9874420553013614</cx:pt>
          <cx:pt idx="1361">6.0756874915209114</cx:pt>
          <cx:pt idx="1362">6.1773084579731199</cx:pt>
          <cx:pt idx="1363">6.1037622806343492</cx:pt>
          <cx:pt idx="1364">6.1745227493949431</cx:pt>
          <cx:pt idx="1365">6.2472359479410837</cx:pt>
          <cx:pt idx="1366">6.408327915038889</cx:pt>
          <cx:pt idx="1367">6.3952267146038553</cx:pt>
          <cx:pt idx="1368">6.2379345906308794</cx:pt>
          <cx:pt idx="1369">6.2379345906308794</cx:pt>
          <cx:pt idx="1370">6.4503063193078836</cx:pt>
          <cx:pt idx="1371">6.3675926816293602</cx:pt>
          <cx:pt idx="1372">6.393208762395445</cx:pt>
          <cx:pt idx="1373">6.5566185882532437</cx:pt>
          <cx:pt idx="1374">6.4068176053292634</cx:pt>
          <cx:pt idx="1375">6.3022440106594155</cx:pt>
          <cx:pt idx="1376">6.0462376108876024</cx:pt>
          <cx:pt idx="1377">5.8878405775518976</cx:pt>
          <cx:pt idx="1378">5.9696364327976408</cx:pt>
          <cx:pt idx="1379">6.0369827969212055</cx:pt>
          <cx:pt idx="1380">5.791354327464048</cx:pt>
          <cx:pt idx="1381">6.0046576903679227</cx:pt>
          <cx:pt idx="1382">6.1111567284058248</cx:pt>
          <cx:pt idx="1383">6.2914859690636469</cx:pt>
          <cx:pt idx="1384">6.4103411077944648</cx:pt>
          <cx:pt idx="1385">6.2986600384184808</cx:pt>
          <cx:pt idx="1386">6.2256838809038673</cx:pt>
          <cx:pt idx="1387">6.231208308927517</cx:pt>
          <cx:pt idx="1388">6.4347845039988112</cx:pt>
          <cx:pt idx="1389">6.5278559440145765</cx:pt>
          <cx:pt idx="1390">6.5031009972662392</cx:pt>
          <cx:pt idx="1391">6.3686057960079649</cx:pt>
          <cx:pt idx="1392">6.3686057960079658</cx:pt>
          <cx:pt idx="1393">6.2873828256039026</cx:pt>
          <cx:pt idx="1394">6.4799110574010168</cx:pt>
          <cx:pt idx="1395">6.5037623519915613</cx:pt>
          <cx:pt idx="1396">6.5643219437079079</cx:pt>
          <cx:pt idx="1397">6.4754291591908339</cx:pt>
          <cx:pt idx="1398">6.606936726140626</cx:pt>
          <cx:pt idx="1399">6.5922730917437757</cx:pt>
          <cx:pt idx="1400">6.5922730917437748</cx:pt>
          <cx:pt idx="1401">6.4377916470108438</cx:pt>
          <cx:pt idx="1402">6.2969526680153631</cx:pt>
          <cx:pt idx="1403">6.2897766512476938</cx:pt>
          <cx:pt idx="1404">6.2487848281051406</cx:pt>
          <cx:pt idx="1405">6.2925113368774461</cx:pt>
          <cx:pt idx="1406">6.3861409081639238</cx:pt>
          <cx:pt idx="1407">6.5510403015290688</cx:pt>
          <cx:pt idx="1408">6.445637017327285</cx:pt>
          <cx:pt idx="1409">6.3528843673520647</cx:pt>
          <cx:pt idx="1410">6.2525693643424693</cx:pt>
          <cx:pt idx="1411">6.3070194722749919</cx:pt>
          <cx:pt idx="1412">6.1610989104985361</cx:pt>
          <cx:pt idx="1413">6.232588650819384</cx:pt>
          <cx:pt idx="1414">6.046593282384773</cx:pt>
          <cx:pt idx="1415">6.0519258465064585</cx:pt>
          <cx:pt idx="1416">6.2615055388383407</cx:pt>
          <cx:pt idx="1417">6.392367760962899</cx:pt>
          <cx:pt idx="1418">6.4451365343363012</cx:pt>
          <cx:pt idx="1419">6.4451365343363021</cx:pt>
          <cx:pt idx="1420">6.3391597421550383</cx:pt>
          <cx:pt idx="1421">6.5849290294262595</cx:pt>
          <cx:pt idx="1422">6.7274114275944967</cx:pt>
          <cx:pt idx="1423">6.7128507797654668</cx:pt>
          <cx:pt idx="1424">6.8220073985767975</cx:pt>
          <cx:pt idx="1425">6.6757465049123521</cx:pt>
          <cx:pt idx="1426">6.415538931761402</cx:pt>
          <cx:pt idx="1427">6.2566953385265434</cx:pt>
          <cx:pt idx="1428">6.2913150581806301</cx:pt>
          <cx:pt idx="1429">6.1896549142088073</cx:pt>
          <cx:pt idx="1430">6.1896549142088073</cx:pt>
          <cx:pt idx="1431">6.0426797445027374</cx:pt>
          <cx:pt idx="1432">6.001971002427327</cx:pt>
          <cx:pt idx="1433">6.0645275680514388</cx:pt>
          <cx:pt idx="1434">6.2393134444475935</cx:pt>
          <cx:pt idx="1435">6.4439685895258441</cx:pt>
          <cx:pt idx="1436">6.4178849562630802</cx:pt>
          <cx:pt idx="1437">6.3915266488708165</cx:pt>
          <cx:pt idx="1438">6.2702574932978683</cx:pt>
          <cx:pt idx="1439">6.3242152813397468</cx:pt>
          <cx:pt idx="1440">6.2827635861593496</cx:pt>
          <cx:pt idx="1441">6.3030970370179542</cx:pt>
          <cx:pt idx="1442">6.2911441426544927</cx:pt>
          <cx:pt idx="1443">6.6048206572153427</cx:pt>
          <cx:pt idx="1444">6.6722020030790787</cx:pt>
          <cx:pt idx="1445">6.7919940220600115</cx:pt>
          <cx:pt idx="1446">6.6866903589884616</cx:pt>
          <cx:pt idx="1447">6.5344414245735507</cx:pt>
          <cx:pt idx="1448">6.3687746327359287</cx:pt>
          <cx:pt idx="1449">6.5367447753499235</cx:pt>
          <cx:pt idx="1450">6.2815654510742016</cx:pt>
          <cx:pt idx="1451">6.249473096069349</cx:pt>
          <cx:pt idx="1452">6.0037622613093689</cx:pt>
          <cx:pt idx="1453">5.890944390032181</cx:pt>
          <cx:pt idx="1454">5.7361333497794149</cx:pt>
          <cx:pt idx="1455">5.7720125634182446</cx:pt>
          <cx:pt idx="1456">6.1654605039531667</cx:pt>
          <cx:pt idx="1457">6.1727810431321481</cx:pt>
          <cx:pt idx="1458">6.286014515941214</cx:pt>
          <cx:pt idx="1459">6.2513654422432481</cx:pt>
          <cx:pt idx="1460">6.2608185936317939</cx:pt>
          <cx:pt idx="1461">6.259444477051483</cx:pt>
          <cx:pt idx="1462">6.0870036063095778</cx:pt>
          <cx:pt idx="1463">6.1371423422495468</cx:pt>
          <cx:pt idx="1464">6.1790488880806196</cx:pt>
          <cx:pt idx="1465">6.0604481895371816</cx:pt>
          <cx:pt idx="1466">5.7664211520860853</cx:pt>
          <cx:pt idx="1467">5.7600776577799637</cx:pt>
          <cx:pt idx="1468">5.7049308987173353</cx:pt>
          <cx:pt idx="1469">5.7049308987173353</cx:pt>
          <cx:pt idx="1470">5.8006302957486433</cx:pt>
          <cx:pt idx="1471">5.8239402100204014</cx:pt>
          <cx:pt idx="1472">5.8966000774275242</cx:pt>
          <cx:pt idx="1473">5.9296956349024068</cx:pt>
          <cx:pt idx="1474">5.8364814853670399</cx:pt>
          <cx:pt idx="1475">5.6966317156040382</cx:pt>
          <cx:pt idx="1476">5.6500071367354296</cx:pt>
          <cx:pt idx="1477">5.6500071367354305</cx:pt>
          <cx:pt idx="1478">5.4431568955200369</cx:pt>
          <cx:pt idx="1479">5.6847277008013366</cx:pt>
          <cx:pt idx="1480">5.6031864974076298</cx:pt>
          <cx:pt idx="1481">5.5239459170617939</cx:pt>
          <cx:pt idx="1482">5.30955721783487</cx:pt>
          <cx:pt idx="1483">5.5338644647279258</cx:pt>
          <cx:pt idx="1484">5.7548483533358619</cx:pt>
          <cx:pt idx="1485">5.7128415993956061</cx:pt>
          <cx:pt idx="1486">5.6324711435386599</cx:pt>
          <cx:pt idx="1487">5.3601476468189686</cx:pt>
          <cx:pt idx="1488">5.4768329283200865</cx:pt>
          <cx:pt idx="1489">5.3464891505135537</cx:pt>
          <cx:pt idx="1490">5.5065942873214562</cx:pt>
          <cx:pt idx="1491">5.7107708083766111</cx:pt>
          <cx:pt idx="1492">5.857629892455587</cx:pt>
          <cx:pt idx="1493">5.8642345887445506</cx:pt>
          <cx:pt idx="1494">5.9284261452041198</cx:pt>
          <cx:pt idx="1495">5.8635011009882421</cx:pt>
          <cx:pt idx="1496">5.8405331911555178</cx:pt>
          <cx:pt idx="1497">6.0701986646202117</cx:pt>
          <cx:pt idx="1498">6.0604481895371816</cx:pt>
          <cx:pt idx="1499">6.1099249419038628</cx:pt>
          <cx:pt idx="1500">5.9472592404500322</cx:pt>
          <cx:pt idx="1501">5.8865620614434881</cx:pt>
          <cx:pt idx="1502">6.2348310546132604</cx:pt>
          <cx:pt idx="1503">6.149219724957506</cx:pt>
          <cx:pt idx="1504">6.1021765903474927</cx:pt>
          <cx:pt idx="1505">6.0378732993078472</cx:pt>
          <cx:pt idx="1506">6.0655913025411099</cx:pt>
          <cx:pt idx="1507">5.9311461475549496</cx:pt>
          <cx:pt idx="1508">5.9316899983528426</cx:pt>
          <cx:pt idx="1509">6.2274107911145808</cx:pt>
          <cx:pt idx="1510">6.0608030271023772</cx:pt>
          <cx:pt idx="1511">5.9894171903090774</cx:pt>
          <cx:pt idx="1512">6.0094907017669703</cx:pt>
          <cx:pt idx="1513">6.0298540434198111</cx:pt>
          <cx:pt idx="1514">5.8008156638175796</cx:pt>
          <cx:pt idx="1515">5.8500987952323076</cx:pt>
          <cx:pt idx="1516">5.9013393777695002</cx:pt>
          <cx:pt idx="1517">6.1448466038580847</cx:pt>
          <cx:pt idx="1518">6.22274703367904</cx:pt>
          <cx:pt idx="1519">6.1811367573370539</cx:pt>
          <cx:pt idx="1520">6.1581312624172995</cx:pt>
          <cx:pt idx="1521">6.1373175465073224</cx:pt>
          <cx:pt idx="1522">5.8805310271514024</cx:pt>
          <cx:pt idx="1523">5.7697766491126119</cx:pt>
          <cx:pt idx="1524">5.7835510169437763</cx:pt>
          <cx:pt idx="1525">5.7043654288830892</cx:pt>
          <cx:pt idx="1526">5.7602643308523893</cx:pt>
          <cx:pt idx="1527">5.8651513194460723</cx:pt>
          <cx:pt idx="1528">5.6431517160468569</cx:pt>
          <cx:pt idx="1529">5.8805310271514033</cx:pt>
          <cx:pt idx="1530">5.8143315706023539</cx:pt>
          <cx:pt idx="1531">5.9676547508888653</cx:pt>
          <cx:pt idx="1532">5.8849178468790999</cx:pt>
          <cx:pt idx="1533">5.5987709864879971</cx:pt>
          <cx:pt idx="1534">5.4350515127491255</cx:pt>
          <cx:pt idx="1535">5.4152314062093145</cx:pt>
          <cx:pt idx="1536">5.3717700973231004</cx:pt>
          <cx:pt idx="1537">5.334005334008002</cx:pt>
          <cx:pt idx="1538">5.3501080282531204</cx:pt>
          <cx:pt idx="1539">5.3462880299255033</cx:pt>
          <cx:pt idx="1540">5.1118668601303501</cx:pt>
          <cx:pt idx="1541">5.340854911228698</cx:pt>
          <cx:pt idx="1542">5.3470924668891184</cx:pt>
          <cx:pt idx="1543">5.3657616280880731</cx:pt>
          <cx:pt idx="1544">5.3657616280880731</cx:pt>
          <cx:pt idx="1545">5.3344084937783522</cx:pt>
          <cx:pt idx="1546">5.0396279091184493</cx:pt>
          <cx:pt idx="1547">4.995912307571686</cx:pt>
          <cx:pt idx="1548">4.7319549711997855</cx:pt>
          <cx:pt idx="1549">4.6274078300714372</cx:pt>
          <cx:pt idx="1550">4.779661210831013</cx:pt>
          <cx:pt idx="1551">4.9132255134724439</cx:pt>
          <cx:pt idx="1552">4.6745708790460974</cx:pt>
          <cx:pt idx="1553">4.7476083395996946</cx:pt>
          <cx:pt idx="1554">4.7328638264796927</cx:pt>
          <cx:pt idx="1555">4.817977088551423</cx:pt>
          <cx:pt idx="1556">4.8025530844575002</cx:pt>
          <cx:pt idx="1557">4.6956855053965647</cx:pt>
          <cx:pt idx="1558">4.5949949395645326</cx:pt>
          <cx:pt idx="1559">4.5809329002463182</cx:pt>
          <cx:pt idx="1560">4.2218071857888644</cx:pt>
          <cx:pt idx="1561">4.2378225287222957</cx:pt>
          <cx:pt idx="1562">4.096943523720963</cx:pt>
          <cx:pt idx="1563">4.3087807321618792</cx:pt>
          <cx:pt idx="1564">4.4225716257564711</cx:pt>
          <cx:pt idx="1565">4.6167064553232811</cx:pt>
          <cx:pt idx="1566">4.4262171037424682</cx:pt>
          <cx:pt idx="1567">4.5354043340278141</cx:pt>
          <cx:pt idx="1568">4.7144253575184436</cx:pt>
          <cx:pt idx="1569">4.7668208111026473</cx:pt>
          <cx:pt idx="1570">4.7530409055111615</cx:pt>
          <cx:pt idx="1571">4.772682120533057</cx:pt>
          <cx:pt idx="1572">4.7726821205330561</cx:pt>
          <cx:pt idx="1573">4.9086274716985798</cx:pt>
          <cx:pt idx="1574">4.8135114493598419</cx:pt>
          <cx:pt idx="1575">4.7663696425993303</cx:pt>
          <cx:pt idx="1576">4.744663102580545</cx:pt>
          <cx:pt idx="1577">4.8433526111701832</cx:pt>
          <cx:pt idx="1578">4.7776360735841852</cx:pt>
          <cx:pt idx="1579">4.6625942292072295</cx:pt>
          <cx:pt idx="1580">4.638548159958896</cx:pt>
          <cx:pt idx="1581">4.9611393072364383</cx:pt>
          <cx:pt idx="1582">5.009238776329151</cx:pt>
          <cx:pt idx="1583">5.0045140913302051</cx:pt>
          <cx:pt idx="1584">5.2910961931088698</cx:pt>
          <cx:pt idx="1585">5.2910961931088698</cx:pt>
          <cx:pt idx="1586">5.4397975926924307</cx:pt>
          <cx:pt idx="1587">5.5540356343794723</cx:pt>
          <cx:pt idx="1588">5.5482245537581409</cx:pt>
          <cx:pt idx="1589">5.7124651477725568</cx:pt>
          <cx:pt idx="1590">5.8169200733536766</cx:pt>
          <cx:pt idx="1591">6.0318152905178319</cx:pt>
          <cx:pt idx="1592">6.2709434045281975</cx:pt>
          <cx:pt idx="1593">6.2365554319603369</cx:pt>
          <cx:pt idx="1594">6.1301300658025122</cx:pt>
          <cx:pt idx="1595">5.907167143048687</cx:pt>
          <cx:pt idx="1596">6.0053739374856807</cx:pt>
          <cx:pt idx="1597">5.9584583414211778</cx:pt>
          <cx:pt idx="1598">6.1901760532227579</cx:pt>
          <cx:pt idx="1599">5.8821764679410968</cx:pt>
          <cx:pt idx="1600">6.0508597096451053</cx:pt>
          <cx:pt idx="1601">6.163541783084459</cx:pt>
          <cx:pt idx="1602">6.195905689391016</cx:pt>
          <cx:pt idx="1603">5.9807936323800943</cx:pt>
          <cx:pt idx="1604">5.9656724107034202</cx:pt>
          <cx:pt idx="1605">5.9656724107034202</cx:pt>
          <cx:pt idx="1606">5.9656724107034202</cx:pt>
          <cx:pt idx="1607">6.0369827969212064</cx:pt>
          <cx:pt idx="1608">6.0187877892157742</cx:pt>
          <cx:pt idx="1609">6.0771031582242303</cx:pt>
          <cx:pt idx="1610">6.0629316163837972</cx:pt>
          <cx:pt idx="1611">6.1123882666745457</cx:pt>
          <cx:pt idx="1612">5.9552091591338971</cx:pt>
          <cx:pt idx="1613">5.6847277008013366</cx:pt>
          <cx:pt idx="1614">5.6566641638306212</cx:pt>
          <cx:pt idx="1615">5.6137312453148009</cx:pt>
          <cx:pt idx="1616">5.6137312453148009</cx:pt>
          <cx:pt idx="1617">5.5443471163191571</cx:pt>
          <cx:pt idx="1618">5.4662208053163308</cx:pt>
          <cx:pt idx="1619">5.7368831221308012</cx:pt>
          <cx:pt idx="1620">5.7971071762477555</cx:pt>
          <cx:pt idx="1621">5.8054479419293408</cx:pt>
          <cx:pt idx="1622">5.5315322888297036</cx:pt>
          <cx:pt idx="1623">5.3687667032548996</cx:pt>
          <cx:pt idx="1624">5.5040552010235135</cx:pt>
          <cx:pt idx="1625">5.2198957679207529</cx:pt>
          <cx:pt idx="1626">5.1830990853959422</cx:pt>
          <cx:pt idx="1627">5.0298036473785732</cx:pt>
          <cx:pt idx="1628">5.1429040789802203</cx:pt>
          <cx:pt idx="1629">4.6526671735636747</cx:pt>
          <cx:pt idx="1630">4.5517336883755046</cx:pt>
          <cx:pt idx="1631">4.7713301497433047</cx:pt>
          <cx:pt idx="1632">4.7623072026564097</cx:pt>
          <cx:pt idx="1633">4.780336065929446</cx:pt>
          <cx:pt idx="1634">4.9123500278073555</cx:pt>
          <cx:pt idx="1635">4.9138820253583395</cx:pt>
          <cx:pt idx="1636">5.2132997826382406</cx:pt>
          <cx:pt idx="1637">5.2461967791116351</cx:pt>
          <cx:pt idx="1638">5.1481283789792593</cx:pt>
          <cx:pt idx="1639">5.1502166151333579</cx:pt>
          <cx:pt idx="1640">5.1183834813704205</cx:pt>
          <cx:pt idx="1641">5.3464891505135537</cx:pt>
          <cx:pt idx="1642">5.3885581689154058</cx:pt>
          <cx:pt idx="1643">5.4770292552044664</cx:pt>
          <cx:pt idx="1644">5.7727576757383208</cx:pt>
          <cx:pt idx="1645">5.790054506029775</cx:pt>
          <cx:pt idx="1646">5.6127734504834246</cx:pt>
          <cx:pt idx="1647">5.7708947145526421</cx:pt>
          <cx:pt idx="1648">5.8394284592914403</cx:pt>
          <cx:pt idx="1649">5.965131658138378</cx:pt>
          <cx:pt idx="1650">5.7746200359105702</cx:pt>
          <cx:pt idx="1651">5.5186877043817786</cx:pt>
          <cx:pt idx="1652">5.2858097720440682</cx:pt>
          <cx:pt idx="1653">5.2711427827900046</cx:pt>
          <cx:pt idx="1654">5.3053026830841397</cx:pt>
          <cx:pt idx="1655">5.4080783858924422</cx:pt>
          <cx:pt idx="1656">5.3384384169139576</cx:pt>
          <cx:pt idx="1657">5.3125940851883744</cx:pt>
          <cx:pt idx="1658">5.4492773517149953</cx:pt>
          <cx:pt idx="1659">5.41602560309064</cx:pt>
          <cx:pt idx="1660">5.4858566929800494</cx:pt>
          <cx:pt idx="1661">5.6091323385527136</cx:pt>
          <cx:pt idx="1662">5.7567165073708946</cx:pt>
          <cx:pt idx="1663">5.9744977743668128</cx:pt>
          <cx:pt idx="1664">6.0928302655794795</cx:pt>
          <cx:pt idx="1665">5.9335024743319371</cx:pt>
          <cx:pt idx="1666">6.2044035697167539</cx:pt>
          <cx:pt idx="1667">6.0558334091659001</cx:pt>
          <cx:pt idx="1668">6.0558334091659001</cx:pt>
          <cx:pt idx="1669">6.0606256109166576</cx:pt>
          <cx:pt idx="1670">6.6149065939975165</cx:pt>
          <cx:pt idx="1671">6.9370440855714106</cx:pt>
          <cx:pt idx="1672">7.0924767046816317</cx:pt>
          <cx:pt idx="1673">7.0695469885740154</cx:pt>
          <cx:pt idx="1674">7.3549047346593133</cx:pt>
          <cx:pt idx="1675">7.2320969162789579</cx:pt>
          <cx:pt idx="1676">7.4058970981209962</cx:pt>
          <cx:pt idx="1677">7.7390227495646737</cx:pt>
          <cx:pt idx="1678">7.6243808139218059</cx:pt>
          <cx:pt idx="1679">7.541426806617558</cx:pt>
          <cx:pt idx="1680">7.3524189567875577</cx:pt>
          <cx:pt idx="1681">7.3524189567875577</cx:pt>
          <cx:pt idx="1682">7.5015410603135333</cx:pt>
          <cx:pt idx="1683">7.6418485631662163</cx:pt>
          <cx:pt idx="1684">7.2972229214675526</cx:pt>
          <cx:pt idx="1685">7.2914738837802515</cx:pt>
          <cx:pt idx="1686">7.263400666857903</cx:pt>
          <cx:pt idx="1687">7.1803195783552578</cx:pt>
          <cx:pt idx="1688">7.0917186293788879</cx:pt>
          <cx:pt idx="1689">6.8385372264724475</cx:pt>
          <cx:pt idx="1690">6.9841602661777378</cx:pt>
          <cx:pt idx="1691">6.8190120055021763</cx:pt>
          <cx:pt idx="1692">6.8397950041594662</cx:pt>
          <cx:pt idx="1693">6.1051714373611068</cx:pt>
          <cx:pt idx="1694">6.1724326429036722</cx:pt>
          <cx:pt idx="1695">6.1724326429036731</cx:pt>
          <cx:pt idx="1696">6.0323500654245823</cx:pt>
          <cx:pt idx="1697">4.9965579550175807</cx:pt>
          <cx:pt idx="1698">4.9836291133856401</cx:pt>
          <cx:pt idx="1699">4.3127717305695654</cx:pt>
          <cx:pt idx="1700">3.7044001734641592</cx:pt>
          <cx:pt idx="1701">3.7304328210353903</cx:pt>
          <cx:pt idx="1702">3.7142561738161235</cx:pt>
          <cx:pt idx="1703">3.7425194205111656</cx:pt>
          <cx:pt idx="1704">3.6729174481119444</cx:pt>
          <cx:pt idx="1705">3.6001792070090954</cx:pt>
          <cx:pt idx="1706">3.6606010435446255</cx:pt>
          <cx:pt idx="1707">3.7660052706979483</cx:pt>
          <cx:pt idx="1708">3.7660052706979483</cx:pt>
          <cx:pt idx="1709">3.7660052706979483</cx:pt>
          <cx:pt idx="1710">3.7453914333814704</cx:pt>
          <cx:pt idx="1711">3.6275528645281292</cx:pt>
          <cx:pt idx="1712">3.4916182279084245</cx:pt>
          <cx:pt idx="1713">3.575604317672628</cx:pt>
          <cx:pt idx="1714">3.6822737248806257</cx:pt>
          <cx:pt idx="1715">5.0609192075952416</cx:pt>
          <cx:pt idx="1716">5.9496091856831734</cx:pt>
          <cx:pt idx="1717">6.2182527020592095</cx:pt>
          <cx:pt idx="1718">6.7456078900608816</cx:pt>
          <cx:pt idx="1719">6.7315658278459738</cx:pt>
          <cx:pt idx="1720">6.7024309504209958</cx:pt>
          <cx:pt idx="1721">6.6403782765678319</cx:pt>
          <cx:pt idx="1722">6.5579304367234048</cx:pt>
          <cx:pt idx="1723">7.0625469833816412</cx:pt>
          <cx:pt idx="1724">7.018715380423818</cx:pt>
          <cx:pt idx="1725">7.2012543710196102</cx:pt>
          <cx:pt idx="1726">7.2280814391041961</cx:pt>
          <cx:pt idx="1727">7.2034937759843425</cx:pt>
          <cx:pt idx="1728">7.309295893012739</cx:pt>
          <cx:pt idx="1729">7.1447401511851352</cx:pt>
          <cx:pt idx="1730">7.0208598560489417</cx:pt>
          <cx:pt idx="1731">6.9019243070164817</cx:pt>
          <cx:pt idx="1732">6.9670499457257042</cx:pt>
          <cx:pt idx="1733">7.0294312163792059</cx:pt>
          <cx:pt idx="1734">7.2718340116144784</cx:pt>
          <cx:pt idx="1735">7.3234048136448218</cx:pt>
          <cx:pt idx="1736">7.2889664739292446</cx:pt>
          <cx:pt idx="1737">7.1245448826536446</cx:pt>
          <cx:pt idx="1738">6.7478391603040846</cx:pt>
          <cx:pt idx="1739">6.3318617418796812</cx:pt>
          <cx:pt idx="1740">6.3623556873592904</cx:pt>
          <cx:pt idx="1741">6.1640651298255404</cx:pt>
          <cx:pt idx="1742">5.9798946299200155</cx:pt>
          <cx:pt idx="1743">5.9180787350269766</cx:pt>
          <cx:pt idx="1744">5.2330627969248704</cx:pt>
          <cx:pt idx="1745">5.1760407503672505</cx:pt>
          <cx:pt idx="1746">5.0377072784805508</cx:pt>
          <cx:pt idx="1747">4.8506733819197221</cx:pt>
          <cx:pt idx="1748">5.0543284973515306</cx:pt>
          <cx:pt idx="1749">5.26440675619045</cx:pt>
          <cx:pt idx="1750">5.2052496247455782</cx:pt>
          <cx:pt idx="1751">5.1209038180753303</cx:pt>
          <cx:pt idx="1752">5.0973322139060864</cx:pt>
          <cx:pt idx="1753">5.2273063027524698</cx:pt>
          <cx:pt idx="1754">5.1213237536058314</cx:pt>
          <cx:pt idx="1755">5.2132997826382397</cx:pt>
          <cx:pt idx="1756">5.1760407503672496</cx:pt>
          <cx:pt idx="1757">5.3138083461661418</cx:pt>
          <cx:pt idx="1758">5.5192721976178927</cx:pt>
          <cx:pt idx="1759">5.702102988777356</cx:pt>
          <cx:pt idx="1760">5.9658526506663216</cx:pt>
          <cx:pt idx="1761">6.1924338154831977</cx:pt>
          <cx:pt idx="1762">6.2308631756746582</cx:pt>
          <cx:pt idx="1763">6.3858041485513715</cx:pt>
          <cx:pt idx="1764">6.516480348242621</cx:pt>
          <cx:pt idx="1765">6.4518064487097648</cx:pt>
          <cx:pt idx="1766">6.4541392902922867</cx:pt>
          <cx:pt idx="1767">6.328974164783312</cx:pt>
          <cx:pt idx="1768">6.2654540121602214</cx:pt>
          <cx:pt idx="1769">6.2256838809038673</cx:pt>
          <cx:pt idx="1770">6.3657348864967105</cx:pt>
          <cx:pt idx="1771">6.4326118042095404</cx:pt>
          <cx:pt idx="1772">6.5646495455518412</cx:pt>
          <cx:pt idx="1773">6.6557437398973525</cx:pt>
          <cx:pt idx="1774">6.545621535830084</cx:pt>
          <cx:pt idx="1775">6.6418354763290886</cx:pt>
          <cx:pt idx="1776">6.645719780268311</cx:pt>
          <cx:pt idx="1777">6.5695616128434509</cx:pt>
          <cx:pt idx="1778">6.5747971063179831</cx:pt>
          <cx:pt idx="1779">6.6217302744793987</cx:pt>
          <cx:pt idx="1780">6.4279296487976971</cx:pt>
          <cx:pt idx="1781">6.3866460142885604</cx:pt>
          <cx:pt idx="1782">6.3664105110885627</cx:pt>
          <cx:pt idx="1783">6.5855821666059464</cx:pt>
          <cx:pt idx="1784">6.4799110574010168</cx:pt>
          <cx:pt idx="1785">6.5413490437239288</cx:pt>
          <cx:pt idx="1786">6.3579600434399159</cx:pt>
          <cx:pt idx="1787">6.4812384320362115</cx:pt>
          <cx:pt idx="1788">6.6360047573660577</cx:pt>
          <cx:pt idx="1789">6.4944972571905746</cx:pt>
          <cx:pt idx="1790">6.3989246408392546</cx:pt>
          <cx:pt idx="1791">6.3476352382820149</cx:pt>
          <cx:pt idx="1792">6.3071899576031738</cx:pt>
          <cx:pt idx="1793">6.2630508900705024</cx:pt>
          <cx:pt idx="1794">6.1011192345321774</cx:pt>
          <cx:pt idx="1795">6.1011192345321765</cx:pt>
          <cx:pt idx="1796">6.031637021679134</cx:pt>
          <cx:pt idx="1797">6.259444477051483</cx:pt>
          <cx:pt idx="1798">6.1469460902597097</cx:pt>
          <cx:pt idx="1799">6.1474708498261599</cx:pt>
          <cx:pt idx="1800">6.156559575481392</cx:pt>
          <cx:pt idx="1801">5.9115341967326698</cx:pt>
          <cx:pt idx="1802">6.0942419500899829</cx:pt>
          <cx:pt idx="1803">5.9707170729813841</cx:pt>
          <cx:pt idx="1804">5.8763239185479659</cx:pt>
          <cx:pt idx="1805">5.8333486942962134</cx:pt>
          <cx:pt idx="1806">5.7380075969621807</cx:pt>
          <cx:pt idx="1807">5.7380075969621807</cx:pt>
          <cx:pt idx="1808">5.751484146937476</cx:pt>
          <cx:pt idx="1809">5.8486281821383743</cx:pt>
          <cx:pt idx="1810">5.6902104199806107</cx:pt>
          <cx:pt idx="1811">5.7891258834666628</cx:pt>
          <cx:pt idx="1812">5.6001152061882324</cx:pt>
          <cx:pt idx="1813">5.6001152061882324</cx:pt>
          <cx:pt idx="1814">5.4553909413149002</cx:pt>
          <cx:pt idx="1815">5.6718508860087535</cx:pt>
          <cx:pt idx="1816">5.5484183545005994</cx:pt>
          <cx:pt idx="1817">5.5623542629211027</cx:pt>
          <cx:pt idx="1818">5.4672042746402996</cx:pt>
          <cx:pt idx="1819">5.3220983815404708</cx:pt>
          <cx:pt idx="1820">5.3823686675216038</cx:pt>
          <cx:pt idx="1821">5.4184074952836685</cx:pt>
          <cx:pt idx="1822">5.370969356452985</cx:pt>
          <cx:pt idx="1823">5.4219783716246592</cx:pt>
          <cx:pt idx="1824">5.7241236357934717</cx:pt>
          <cx:pt idx="1825">5.7209293176952034</cx:pt>
          <cx:pt idx="1826">5.5323097900337457</cx:pt>
          <cx:pt idx="1827">5.579339769010712</cx:pt>
          <cx:pt idx="1828">5.4795808645929212</cx:pt>
          <cx:pt idx="1829">5.6913441162402378</cx:pt>
          <cx:pt idx="1830">5.9409278446985017</cx:pt>
          <cx:pt idx="1831">6.1905234548591519</cx:pt>
          <cx:pt idx="1832">6.4571374196244253</cx:pt>
          <cx:pt idx="1833">6.2843037099013257</cx:pt>
          <cx:pt idx="1834">6.2760853493103443</cx:pt>
          <cx:pt idx="1835">6.2868697443796062</cx:pt>
          <cx:pt idx="1836">6.393208762395445</cx:pt>
          <cx:pt idx="1837">6.5543222216294978</cx:pt>
          <cx:pt idx="1838">6.5449644108875757</cx:pt>
          <cx:pt idx="1839">6.7526179710069183</cx:pt>
          <cx:pt idx="1840">6.78771819388297</cx:pt>
          <cx:pt idx="1841">6.6702678445681309</cx:pt>
          <cx:pt idx="1842">6.5899891494028511</cx:pt>
          <cx:pt idx="1843">6.6992215885484132</cx:pt>
          <cx:pt idx="1844">6.9531458030980327</cx:pt>
          <cx:pt idx="1845">7.112763024975763</cx:pt>
          <cx:pt idx="1846">7.0237691685684931</cx:pt>
          <cx:pt idx="1847">7.2459109714687777</cx:pt>
          <cx:pt idx="1848">7.1779231428848069</cx:pt>
          <cx:pt idx="1849">7.3138548740236553</cx:pt>
          <cx:pt idx="1850">7.3528576845354658</cx:pt>
          <cx:pt idx="1851">7.5185791382457712</cx:pt>
          <cx:pt idx="1852">7.6047523341997243</cx:pt>
          <cx:pt idx="1853">7.510852363467575</cx:pt>
          <cx:pt idx="1854">7.5496920110932724</cx:pt>
          <cx:pt idx="1855">7.3188517813827501</cx:pt>
          <cx:pt idx="1856">7.3955813602389631</cx:pt>
          <cx:pt idx="1857">7.5138581644937261</cx:pt>
          <cx:pt idx="1858">7.5915912735418081</cx:pt>
          <cx:pt idx="1859">7.5015410603135342</cx:pt>
          <cx:pt idx="1860">7.4825962948583538</cx:pt>
          <cx:pt idx="1861">7.3516876856921103</cx:pt>
          <cx:pt idx="1862">7.3516876856921103</cx:pt>
          <cx:pt idx="1863">7.0225443417794162</cx:pt>
          <cx:pt idx="1864">6.7980072981577813</cx:pt>
          <cx:pt idx="1865">6.8311431055887164</cx:pt>
          <cx:pt idx="1866">6.6879766938936411</cx:pt>
          <cx:pt idx="1867">6.2851591711309602</cx:pt>
          <cx:pt idx="1868">6.2704289781395728</cx:pt>
          <cx:pt idx="1869">6.2841326036808898</cx:pt>
          <cx:pt idx="1870">6.3530536218877183</cx:pt>
          <cx:pt idx="1871">6.3716441726108339</cx:pt>
          <cx:pt idx="1872">6.3282945433945326</cx:pt>
          <cx:pt idx="1873">6.3296537132004493</cx:pt>
          <cx:pt idx="1874">5.8757749431709589</cx:pt>
          <cx:pt idx="1875">4.9125689138508104</cx:pt>
          <cx:pt idx="1876">4.9392002312855441</cx:pt>
          <cx:pt idx="1877">4.2177301136782059</cx:pt>
          <cx:pt idx="1878">4.3717076705778553</cx:pt>
          <cx:pt idx="1879">4.2385836546952165</cx:pt>
          <cx:pt idx="1880">4.2952837351671409</cx:pt>
          <cx:pt idx="1881">4.2747068062698652</cx:pt>
          <cx:pt idx="1882">4.2890207419329647</cx:pt>
          <cx:pt idx="1883">4.3242253330721319</cx:pt>
          <cx:pt idx="1884">3.8268996969247295</cx:pt>
          <cx:pt idx="1885">3.9146814918707888</cx:pt>
          <cx:pt idx="1886">3.1947537640486829</cx:pt>
          <cx:pt idx="1887">3.1554697348115743</cx:pt>
          <cx:pt idx="1888">3.1700886999564224</cx:pt>
          <cx:pt idx="1889">3.3013519550606527</cx:pt>
          <cx:pt idx="1890">3.206176834248716</cx:pt>
          <cx:pt idx="1891">3.1829518996835198</cx:pt>
          <cx:pt idx="1892">3.3013519550606523</cx:pt>
          <cx:pt idx="1893">3.3798899263109878</cx:pt>
          <cx:pt idx="1894">3.4516631490664977</cx:pt>
          <cx:pt idx="1895">3.4131308743720039</cx:pt>
          <cx:pt idx="1896">3.3970258971983949</cx:pt>
          <cx:pt idx="1897">3.3613873223987132</cx:pt>
          <cx:pt idx="1898">3.4385543348882086</cx:pt>
          <cx:pt idx="1899">3.3773438695079938</cx:pt>
          <cx:pt idx="1900">3.3013519550606523</cx:pt>
          <cx:pt idx="1901">3.4001897480259302</cx:pt>
          <cx:pt idx="1902">3.4347997703455135</cx:pt>
          <cx:pt idx="1903">3.4046141997974408</cx:pt>
          <cx:pt idx="1904">3.9387788075269792</cx:pt>
          <cx:pt idx="1905">4.0555285509976366</cx:pt>
          <cx:pt idx="1906">4.3264627087139527</cx:pt>
          <cx:pt idx="1907">4.3115249404158567</cx:pt>
          <cx:pt idx="1908">4.3640762241650393</cx:pt>
          <cx:pt idx="1909">4.7237674047971137</cx:pt>
          <cx:pt idx="1910">4.6881227184936103</cx:pt>
          <cx:pt idx="1911">4.5985037304692691</cx:pt>
          <cx:pt idx="1912">4.9563687713738034</cx:pt>
          <cx:pt idx="1913">5.5550035568061551</cx:pt>
          <cx:pt idx="1914">5.5610009155542937</cx:pt>
          <cx:pt idx="1915">5.9964146994109599</cx:pt>
          <cx:pt idx="1916">5.8206159375510351</cx:pt>
          <cx:pt idx="1917">5.8169200733536766</cx:pt>
          <cx:pt idx="1918">6.0850601467238858</cx:pt>
          <cx:pt idx="1919">6.3282945433945308</cx:pt>
          <cx:pt idx="1920">6.5700526175860618</cx:pt>
          <cx:pt idx="1921">6.500124068294836</cx:pt>
          <cx:pt idx="1922">6.3975801877010117</cx:pt>
          <cx:pt idx="1923">6.3948904334565402</cx:pt>
          <cx:pt idx="1924">6.4671211457632758</cx:pt>
          <cx:pt idx="1925">6.4416320646179397</cx:pt>
          <cx:pt idx="1926">6.3022440106594155</cx:pt>
          <cx:pt idx="1927">6.1130918914341779</cx:pt>
          <cx:pt idx="1928">5.9244345494893267</cx:pt>
          <cx:pt idx="1929">5.6990850048471042</cx:pt>
          <cx:pt idx="1930">5.5722044439872622</cx:pt>
          <cx:pt idx="1931">5.6087489261090155</cx:pt>
          <cx:pt idx="1932">5.8508339631642379</cx:pt>
          <cx:pt idx="1933">5.8755919399802856</cx:pt>
          <cx:pt idx="1934">5.831505089846293</cx:pt>
          <cx:pt idx="1935">6.087533533059923</cx:pt>
          <cx:pt idx="1936">6.0820553967768465</cx:pt>
          <cx:pt idx="1937">6.1934755820093645</cx:pt>
          <cx:pt idx="1938">6.0739174441442296</cx:pt>
          <cx:pt idx="1939">6.0508597096451053</cx:pt>
          <cx:pt idx="1940">6.071615611106508</cx:pt>
          <cx:pt idx="1941">6.2116782141832774</cx:pt>
          <cx:pt idx="1942">6.0282489121001426</cx:pt>
          <cx:pt idx="1943">6.0410780210086674</cx:pt>
          <cx:pt idx="1944">5.9550285970260335</cx:pt>
          <cx:pt idx="1945">5.9714373911252752</cx:pt>
          <cx:pt idx="1946">5.9908532431236505</cx:pt>
          <cx:pt idx="1947">5.766980537172727</cx:pt>
          <cx:pt idx="1948">5.7904259133559863</cx:pt>
          <cx:pt idx="1949">5.946174337110528</cx:pt>
          <cx:pt idx="1950">6.0537023240292376</cx:pt>
          <cx:pt idx="1951">5.8905793205068386</cx:pt>
          <cx:pt idx="1952">6.0109219588761027</cx:pt>
          <cx:pt idx="1953">6.0430356254032196</cx:pt>
          <cx:pt idx="1954">6.0599158942316436</cx:pt>
          <cx:pt idx="1955">5.7383823729396513</cx:pt>
          <cx:pt idx="1956">6.0673637789246202</cx:pt>
          <cx:pt idx="1957">6.0134258391187174</cx:pt>
          <cx:pt idx="1958">5.9838492304622131</cx:pt>
          <cx:pt idx="1959">5.9838492304622131</cx:pt>
          <cx:pt idx="1960">5.9838492304622131</cx:pt>
          <cx:pt idx="1961">5.9160797830996161</cx:pt>
          <cx:pt idx="1962">5.8477088611464891</cx:pt>
          <cx:pt idx="1963">6.0287840033575417</cx:pt>
          <cx:pt idx="1964">6.1194208735759466</cx:pt>
          <cx:pt idx="1965">6.0473045626227799</cx:pt>
          <cx:pt idx="1966">5.7870823893085506</cx:pt>
          <cx:pt idx="1967">6.1088689272149619</cx:pt>
          <cx:pt idx="1968">6.1236365609972969</cx:pt>
          <cx:pt idx="1969">6.229482451448372</cx:pt>
          <cx:pt idx="1970">6.1827021965814355</cx:pt>
          <cx:pt idx="1971">6.1450215884552151</cx:pt>
          <cx:pt idx="1972">6.103057580259013</cx:pt>
          <cx:pt idx="1973">6.0392978300105291</cx:pt>
          <cx:pt idx="1974">6.0307455984412313</cx:pt>
          <cx:pt idx="1975">6.202670253976903</cx:pt>
          <cx:pt idx="1976">6.0930067440300517</cx:pt>
          <cx:pt idx="1977">6.1910445207625919</cx:pt>
          <cx:pt idx="1978">6.2978064110766256</cx:pt>
          <cx:pt idx="1979">6.2978064110766248</cx:pt>
          <cx:pt idx="1980">6.1778306384886816</cx:pt>
          <cx:pt idx="1981">6.1011192345321774</cx:pt>
          <cx:pt idx="1982">6.2947323941513593</cx:pt>
          <cx:pt idx="1983">6.1997225050630256</cx:pt>
          <cx:pt idx="1984">6.2479243865290925</cx:pt>
          <cx:pt idx="1985">6.2382793326572088</cx:pt>
          <cx:pt idx="1986">6.2365554319603378</cx:pt>
          <cx:pt idx="1987">6.2365554319603378</cx:pt>
          <cx:pt idx="1988">6.2716292407422598</cx:pt>
          <cx:pt idx="1989">6.2147933122492898</cx:pt>
          <cx:pt idx="1990">6.2556641001042674</cx:pt>
          <cx:pt idx="1991">6.2315534230652432</cx:pt>
          <cx:pt idx="1992">6.3559302594007097</cx:pt>
          <cx:pt idx="1993">6.4606334787106245</cx:pt>
          <cx:pt idx="1994">6.1032337629810138</cx:pt>
          <cx:pt idx="1995">5.9593605776646594</cx:pt>
          <cx:pt idx="1996">6.1399450104363966</cx:pt>
          <cx:pt idx="1997">6.1174877126136096</cx:pt>
          <cx:pt idx="1998">6.1174877126136096</cx:pt>
          <cx:pt idx="1999">6.1174877126136096</cx:pt>
          <cx:pt idx="2000">6.0634636469471364</cx:pt>
          <cx:pt idx="2001">6.1936491927280359</cx:pt>
          <cx:pt idx="2002">6.3242152813397476</cx:pt>
          <cx:pt idx="2003">6.1631928605682251</cx:pt>
          <cx:pt idx="2004">6.1232853645664749</cx:pt>
          <cx:pt idx="2005">6.0682498229702526</cx:pt>
          <cx:pt idx="2006">6.1201236898035507</cx:pt>
          <cx:pt idx="2007">6.2789972488935595</cx:pt>
          <cx:pt idx="2008">6.325065344555993</cx:pt>
          <cx:pt idx="2009">6.2700860037661093</cx:pt>
          <cx:pt idx="2010">6.3138352947342762</cx:pt>
          <cx:pt idx="2011">6.3179212587890063</cx:pt>
          <cx:pt idx="2012">6.2331062002203854</cx:pt>
          <cx:pt idx="2013">6.1039384430160366</cx:pt>
          <cx:pt idx="2014">6.2789972488935613</cx:pt>
          <cx:pt idx="2015">6.2218829912647227</cx:pt>
          <cx:pt idx="2016">6.4016127000381973</cx:pt>
          <cx:pt idx="2017">6.6127930754004778</cx:pt>
          <cx:pt idx="2018">6.3648902549053625</cx:pt>
          <cx:pt idx="2019">6.3633696355216998</cx:pt>
          <cx:pt idx="2020">6.3633696355216989</cx:pt>
          <cx:pt idx="2021">6.4118505875440706</cx:pt>
          <cx:pt idx="2022">6.4651256339196994</cx:pt>
          <cx:pt idx="2023">6.3915266488708165</cx:pt>
          <cx:pt idx="2024">6.2331062002203863</cx:pt>
          <cx:pt idx="2025">6.4016127000381973</cx:pt>
          <cx:pt idx="2026">6.3179212587890072</cx:pt>
          <cx:pt idx="2027">6.1360910116478715</cx:pt>
          <cx:pt idx="2028">6.1691218594001711</cx:pt>
          <cx:pt idx="2029">5.7833650955094473</cx:pt>
          <cx:pt idx="2030">5.7894973503657869</cx:pt>
          <cx:pt idx="2031">5.829476451528449</cx:pt>
          <cx:pt idx="2032">5.829476451528449</cx:pt>
          <cx:pt idx="2033">5.6905883438291962</cx:pt>
          <cx:pt idx="2034">5.8302142198603955</cx:pt>
          <cx:pt idx="2035">5.7567165073708955</cx:pt>
          <cx:pt idx="2036">5.8050774957086322</cx:pt>
          <cx:pt idx="2037">5.7049308987173344</cx:pt>
          <cx:pt idx="2038">5.8121119364040412</cx:pt>
          <cx:pt idx="2039">5.6894544969722958</cx:pt>
          <cx:pt idx="2040">5.6530513218360072</cx:pt>
          <cx:pt idx="2041">5.5058131547141755</cx:pt>
          <cx:pt idx="2042">5.4709398457393874</cx:pt>
          <cx:pt idx="2043">5.4764402534367491</cx:pt>
          <cx:pt idx="2044">5.5826151038603289</cx:pt>
          <cx:pt idx="2045">5.5377492419453835</cx:pt>
          <cx:pt idx="2046">5.5011240298140738</cx:pt>
          <cx:pt idx="2047">5.3032755145094717</cx:pt>
          <cx:pt idx="2048">5.0113848878951277</cx:pt>
          <cx:pt idx="2049">5.1729237172943341</cx:pt>
          <cx:pt idx="2050">5.2011165054462882</cx:pt>
          <cx:pt idx="2051">5.5375550678103647</cx:pt>
          <cx:pt idx="2052">5.4695638795298889</cx:pt>
          <cx:pt idx="2053">5.6873751906428485</cx:pt>
          <cx:pt idx="2054">5.6026107585506919</cx:pt>
          <cx:pt idx="2055">5.6278875503664691</cx:pt>
          <cx:pt idx="2056">5.2801107841098478</cx:pt>
          <cx:pt idx="2057">5.1664758896446585</cx:pt>
          <cx:pt idx="2058">5.2120621061005661</cx:pt>
          <cx:pt idx="2059">5.3909521970981942</cx:pt>
          <cx:pt idx="2060">5.4037024344425184</cx:pt>
          <cx:pt idx="2061">5.6355248012005266</cx:pt>
          <cx:pt idx="2062">5.6500071367354305</cx:pt>
          <cx:pt idx="2063">5.6141143174941206</cx:pt>
          <cx:pt idx="2064">5.7166047521647947</cx:pt>
          <cx:pt idx="2065">5.782435398669401</cx:pt>
          <cx:pt idx="2066">5.7757371637693353</cx:pt>
          <cx:pt idx="2067">5.8180290791290643</cx:pt>
          <cx:pt idx="2068">5.7971071762477555</cx:pt>
          <cx:pt idx="2069">5.6357155998666819</cx:pt>
          <cx:pt idx="2070">5.8982410354128421</cx:pt>
          <cx:pt idx="2071">6.00232929696858</cx:pt>
          <cx:pt idx="2072">6.0055529859178387</cx:pt>
          <cx:pt idx="2073">6.1685989416743414</cx:pt>
          <cx:pt idx="2074">6.3819301357868614</cx:pt>
          <cx:pt idx="2075">6.2628792032082581</cx:pt>
          <cx:pt idx="2076">6.1502688113295436</cx:pt>
          <cx:pt idx="2077">6.1348642315690203</cx:pt>
          <cx:pt idx="2078">6.3189423369789113</cx:pt>
          <cx:pt idx="2079">6.33169192085695</cx:pt>
          <cx:pt idx="2080">6.2369002502190787</cx:pt>
          <cx:pt idx="2081">6.1684246259147395</cx:pt>
          <cx:pt idx="2082">5.9033433209996691</cx:pt>
          <cx:pt idx="2083">6.0319935540879968</cx:pt>
          <cx:pt idx="2084">5.715476066494082</cx:pt>
          <cx:pt idx="2085">5.935133229474542</cx:pt>
          <cx:pt idx="2086">5.7898687934323085</cx:pt>
          <cx:pt idx="2087">5.7166047521647947</cx:pt>
          <cx:pt idx="2088">5.6060643047727634</cx:pt>
          <cx:pt idx="2089">5.7327581606964948</cx:pt>
          <cx:pt idx="2090">5.8276316220726114</cx:pt>
          <cx:pt idx="2091">5.8976941001483558</cx:pt>
          <cx:pt idx="2092">5.8390601688896808</cx:pt>
          <cx:pt idx="2093">5.9022503454008923</cx:pt>
          <cx:pt idx="2094">5.9142619677907344</cx:pt>
          <cx:pt idx="2095">5.7415669810470273</cx:pt>
          <cx:pt idx="2096">5.6964429572840789</cx:pt>
          <cx:pt idx="2097">5.6741253885273952</cx:pt>
          <cx:pt idx="2098">5.7583973278114664</cx:pt>
          <cx:pt idx="2099">5.8752259164982306</cx:pt>
          <cx:pt idx="2100">6.015213686888</cx:pt>
          <cx:pt idx="2101">5.7874539873690578</cx:pt>
          <cx:pt idx="2102">5.7606376588498556</cx:pt>
          <cx:pt idx="2103">5.7370705499081724</cx:pt>
          <cx:pt idx="2104">5.4451319878944515</cx:pt>
          <cx:pt idx="2105">5.5429893724231238</cx:pt>
          <cx:pt idx="2106">5.6945550299604033</cx:pt>
          <cx:pt idx="2107">5.7254384252466064</cx:pt>
          <cx:pt idx="2108">5.9018859752214921</cx:pt>
          <cx:pt idx="2109">5.6743148892501187</cx:pt>
          <cx:pt idx="2110">5.8061887634651743</cx:pt>
          <cx:pt idx="2111">5.5922373232517497</cx:pt>
          <cx:pt idx="2112">5.7350085074605737</cx:pt>
          <cx:pt idx="2113">5.743065009115317</cx:pt>
          <cx:pt idx="2114">5.4447370267371582</cx:pt>
          <cx:pt idx="2115">5.4429593468638835</cx:pt>
          <cx:pt idx="2116">5.1103942149562256</cx:pt>
          <cx:pt idx="2117">5.1209038180753312</cx:pt>
          <cx:pt idx="2118">5.0511363567640561</cx:pt>
          <cx:pt idx="2119">5.239839117615599</cx:pt>
          <cx:pt idx="2120">5.0645298267056722</cx:pt>
          <cx:pt idx="2121">5.1996691375302859</cx:pt>
          <cx:pt idx="2122">5.3101647302476023</cx:pt>
          <cx:pt idx="2123">5.327146949696048</cx:pt>
          <cx:pt idx="2124">5.6985189549188906</cx:pt>
          <cx:pt idx="2125">5.7930250979040512</cx:pt>
          <cx:pt idx="2126">5.7293809832837006</cx:pt>
          <cx:pt idx="2127">5.7837369324015597</cx:pt>
          <cx:pt idx="2128">5.8561611705889707</cx:pt>
          <cx:pt idx="2129">5.9879807930966704</cx:pt>
          <cx:pt idx="2130">6.2101200791811966</cx:pt>
          <cx:pt idx="2131">6.1802668975321104</cx:pt>
          <cx:pt idx="2132">6.1802668975321104</cx:pt>
          <cx:pt idx="2133">6.2101200791811966</cx:pt>
          <cx:pt idx="2134">6.3670860639884994</cx:pt>
          <cx:pt idx="2135">6.3767049164437459</cx:pt>
          <cx:pt idx="2136">6.0425017961924707</cx:pt>
          <cx:pt idx="2137">6.0273569877737048</cx:pt>
          <cx:pt idx="2138">6.1853103815515214</cx:pt>
          <cx:pt idx="2139">6.0924772933423785</cx:pt>
          <cx:pt idx="2140">6.4103411077944656</cx:pt>
          <cx:pt idx="2141">6.5457858067581922</cx:pt>
          <cx:pt idx="2142">6.5490703600316564</cx:pt>
          <cx:pt idx="2143">6.5613727910572059</cx:pt>
          <cx:pt idx="2144">6.5482493761671234</cx:pt>
          <cx:pt idx="2145">6.7551652877273209</cx:pt>
          <cx:pt idx="2146">6.7200550432973571</cx:pt>
          <cx:pt idx="2147">6.8864835666672795</cx:pt>
          <cx:pt idx="2148">6.933478079547803</cx:pt>
          <cx:pt idx="2149">6.8689734093913009</cx:pt>
          <cx:pt idx="2150">6.6215678876171458</cx:pt>
          <cx:pt idx="2151">6.760416097138668</cx:pt>
          <cx:pt idx="2152">6.7940517943967897</cx:pt>
          <cx:pt idx="2153">6.671879682265236</cx:pt>
          <cx:pt idx="2154">6.6969741201225661</cx:pt>
          <cx:pt idx="2155">6.6592970018718773</cx:pt>
          <cx:pt idx="2156">6.5362512685147962</cx:pt>
          <cx:pt idx="2157">6.5715254116954576</cx:pt>
          <cx:pt idx="2158">6.5551424449143951</cx:pt>
          <cx:pt idx="2159">6.639244677858553</cx:pt>
          <cx:pt idx="2160">6.5649771310479688</cx:pt>
          <cx:pt idx="2161">6.5649771310479688</cx:pt>
          <cx:pt idx="2162">6.5367447753499235</cx:pt>
          <cx:pt idx="2163">6.5751241862428831</cx:pt>
          <cx:pt idx="2164">6.5303262774782231</cx:pt>
          <cx:pt idx="2165">6.2949032122513939</cx:pt>
          <cx:pt idx="2166">6.396571662403078</cx:pt>
          <cx:pt idx="2167">6.5500554048383153</cx:pt>
          <cx:pt idx="2168">6.5500554048383153</cx:pt>
          <cx:pt idx="2169">6.4434679769431984</cx:pt>
          <cx:pt idx="2170">6.5108676725504377</cx:pt>
          <cx:pt idx="2171">6.2685423868642687</cx:pt>
          <cx:pt idx="2172">6.2592726912682046</cx:pt>
          <cx:pt idx="2173">6.2757426840621147</cx:pt>
          <cx:pt idx="2174">6.1371423422495468</cx:pt>
          <cx:pt idx="2175">6.2491289715628211</cx:pt>
          <cx:pt idx="2176">6.1565595754813911</cx:pt>
          <cx:pt idx="2177">6.2018034144430798</cx:pt>
          <cx:pt idx="2178">6.1469460902597115</cx:pt>
          <cx:pt idx="2179">6.098475042948226</cx:pt>
          <cx:pt idx="2180">6.0645275680514406</cx:pt>
          <cx:pt idx="2181">6.0928302655794777</cx:pt>
          <cx:pt idx="2182">5.8876579493914427</cx:pt>
          <cx:pt idx="2183">5.8876579493914427</cx:pt>
          <cx:pt idx="2184">5.8130368869862137</cx:pt>
          <cx:pt idx="2185">5.9148073710442288</cx:pt>
          <cx:pt idx="2186">6.0282489121001435</cx:pt>
          <cx:pt idx="2187">6.0627542624876218</cx:pt>
          <cx:pt idx="2188">6.1507932874155458</cx:pt>
          <cx:pt idx="2189">6.2418979743809224</cx:pt>
          <cx:pt idx="2190">6.1229341479918897</cx:pt>
          <cx:pt idx="2191">6.1359157723677562</cx:pt>
          <cx:pt idx="2192">5.9815127370637544</cx:pt>
          <cx:pt idx="2193">5.9264306834013754</cx:pt>
          <cx:pt idx="2194">6.690066460604994</cx:pt>
          <cx:pt idx="2195">7.6511296516420728</cx:pt>
          <cx:pt idx="2196">8.4531599995797215</cx:pt>
          <cx:pt idx="2197">8.3640294862770439</cx:pt>
          <cx:pt idx="2198">8.7591426889371586</cx:pt>
          <cx:pt idx="2199">9.2427245436206373</cx:pt>
          <cx:pt idx="2200">9.6047703201703776</cx:pt>
          <cx:pt idx="2201">9.3896534226695234</cx:pt>
          <cx:pt idx="2202">9.5592099372100794</cx:pt>
          <cx:pt idx="2203">9.7991660825795677</cx:pt>
          <cx:pt idx="2204">9.8739365835472714</cx:pt>
          <cx:pt idx="2205">9.92932011013154</cx:pt>
          <cx:pt idx="2206">9.7368604597633635</cx:pt>
          <cx:pt idx="2207">9.5951376575152203</cx:pt>
          <cx:pt idx="2208">10.016223399205694</cx:pt>
          <cx:pt idx="2209">9.7535215586832518</cx:pt>
          <cx:pt idx="2210">9.7759854988189439</cx:pt>
          <cx:pt idx="2211">9.6124918725583335</cx:pt>
          <cx:pt idx="2212">9.4620918826493607</cx:pt>
          <cx:pt idx="2213">9.2951600308978009</cx:pt>
          <cx:pt idx="2214">8.6053246831962014</cx:pt>
          <cx:pt idx="2215">8.2844588274983995</cx:pt>
          <cx:pt idx="2216">7.8142412038148565</cx:pt>
          <cx:pt idx="2217">6.5736521984210921</cx:pt>
          <cx:pt idx="2218">6.5703799336962465</cx:pt>
          <cx:pt idx="2219">6.5257142319104915</cx:pt>
          <cx:pt idx="2220">6.3371239363725742</cx:pt>
          <cx:pt idx="2221">6.1521916717208507</cx:pt>
          <cx:pt idx="2222">5.774061390930699</cx:pt>
          <cx:pt idx="2223">5.6389581894500322</cx:pt>
          <cx:pt idx="2224">4.9108175523285391</cx:pt>
          <cx:pt idx="2225">5.0045140913302051</cx:pt>
          <cx:pt idx="2226">5.0045140913302051</cx:pt>
          <cx:pt idx="2227">4.8705831935366106</cx:pt>
          <cx:pt idx="2228">4.8705831935366115</cx:pt>
          <cx:pt idx="2229">4.8564334893581256</cx:pt>
          <cx:pt idx="2230">4.7498726638280155</cx:pt>
          <cx:pt idx="2231">4.90840840989007</cx:pt>
          <cx:pt idx="2232">4.9103796143464553</cx:pt>
          <cx:pt idx="2233">5.0821213080019376</cx:pt>
          <cx:pt idx="2234">5.0821213080019376</cx:pt>
          <cx:pt idx="2235">5.2605245251371935</cx:pt>
          <cx:pt idx="2236">5.4090724265930321</cx:pt>
          <cx:pt idx="2237">5.6471517228285233</cx:pt>
          <cx:pt idx="2238">6.0426797445027374</cx:pt>
          <cx:pt idx="2239">6.6525118548180453</cx:pt>
          <cx:pt idx="2240">6.8641189552817377</cx:pt>
          <cx:pt idx="2241">7.0897472542420186</cx:pt>
          <cx:pt idx="2242">7.3137078544774514</cx:pt>
          <cx:pt idx="2243">7.579400492648281</cx:pt>
          <cx:pt idx="2244">7.6198665074525964</cx:pt>
          <cx:pt idx="2245">7.5579481769301182</cx:pt>
          <cx:pt idx="2246">21.241013280003639</cx:pt>
          <cx:pt idx="2247">28.604045130880749</cx:pt>
          <cx:pt idx="2248">34.12056422783489</cx:pt>
          <cx:pt idx="2249">38.460956323137928</cx:pt>
          <cx:pt idx="2250">42.175465527639638</cx:pt>
          <cx:pt idx="2251">45.319605764687175</cx:pt>
          <cx:pt idx="2252">48.040395188762474</cx:pt>
          <cx:pt idx="2253">50.393633323763162</cx:pt>
          <cx:pt idx="2254">52.467583438042546</cx:pt>
          <cx:pt idx="2255">54.101875228367142</cx:pt>
          <cx:pt idx="2256">55.626654862420011</cx:pt>
          <cx:pt idx="2257">56.643973950864684</cx:pt>
          <cx:pt idx="2258">57.556741521942115</cx:pt>
          <cx:pt idx="2259">58.406105145605878</cx:pt>
          <cx:pt idx="2260">58.888704943244193</cx:pt>
          <cx:pt idx="2261">59.242748297208927</cx:pt>
          <cx:pt idx="2262">58.824451795424821</cx:pt>
          <cx:pt idx="2263">58.298896132967911</cx:pt>
          <cx:pt idx="2264">57.914712970838622</cx:pt>
          <cx:pt idx="2265">57.635543842133515</cx:pt>
          <cx:pt idx="2266">56.945323710319869</cx:pt>
          <cx:pt idx="2267">56.256402264088351</cx:pt>
          <cx:pt idx="2268">55.645884988281317</cx:pt>
          <cx:pt idx="2269">54.552687366661701</cx:pt>
          <cx:pt idx="2270">53.341625699429756</cx:pt>
          <cx:pt idx="2271">52.396872598128567</cx:pt>
          <cx:pt idx="2272">51.202696501573605</cx:pt>
          <cx:pt idx="2273">50.015825452539765</cx:pt>
          <cx:pt idx="2274">48.561146467485287</cx:pt>
          <cx:pt idx="2275">47.226291201460668</cx:pt>
          <cx:pt idx="2276">46.041566072969466</cx:pt>
          <cx:pt idx="2277">46.381285621616598</cx:pt>
          <cx:pt idx="2278">46.253904223470457</cx:pt>
          <cx:pt idx="2279">45.813178364177674</cx:pt>
          <cx:pt idx="2280">45.180046028526633</cx:pt>
          <cx:pt idx="2281">44.443633505146551</cx:pt>
          <cx:pt idx="2282">43.556834704353413</cx:pt>
          <cx:pt idx="2283">42.285181318516123</cx:pt>
          <cx:pt idx="2284">40.709408175242423</cx:pt>
          <cx:pt idx="2285">39.06889420784335</cx:pt>
          <cx:pt idx="2286">37.057583786979855</cx:pt>
          <cx:pt idx="2287">34.659635349793355</cx:pt>
          <cx:pt idx="2288">31.799100548583514</cx:pt>
          <cx:pt idx="2289">28.107780272158749</cx:pt>
          <cx:pt idx="2290">23.613191137559621</cx:pt>
          <cx:pt idx="2291">17.479265750677172</cx:pt>
          <cx:pt idx="2292">6.0430356254032187</cx:pt>
          <cx:pt idx="2293">5.9295142958716474</cx:pt>
          <cx:pt idx="2294">5.9663933378855933</cx:pt>
          <cx:pt idx="2295">6.070021523052664</cx:pt>
          <cx:pt idx="2296">6.1610989104985361</cx:pt>
          <cx:pt idx="2297">6.1811367573370539</cx:pt>
          <cx:pt idx="2298">6.2047501747598837</cx:pt>
          <cx:pt idx="2299">6.2227470336790409</cx:pt>
          <cx:pt idx="2300">6.2382793326572079</cx:pt>
          <cx:pt idx="2301">6.295415638741904</cx:pt>
          <cx:pt idx="2302">6.3056554237113733</cx:pt>
          <cx:pt idx="2303">6.2594444770514848</cx:pt>
          <cx:pt idx="2304">6.3020733915321925</cx:pt>
          <cx:pt idx="2305">6.1044668996589913</cx:pt>
          <cx:pt idx="2306">6.3165595644450949</cx:pt>
          <cx:pt idx="2307">6.6158818363932621</cx:pt>
          <cx:pt idx="2308">6.6004235771539292</cx:pt>
          <cx:pt idx="2309">6.6942440369175698</cx:pt>
          <cx:pt idx="2310">6.6931195613380154</cx:pt>
          <cx:pt idx="2311">6.7713819049899859</cx:pt>
          <cx:pt idx="2312">6.9109543713282218</cx:pt>
          <cx:pt idx="2313">6.9087757812581323</cx:pt>
          <cx:pt idx="2314">6.9059737270192088</cx:pt>
          <cx:pt idx="2315">7.0373809888903756</cx:pt>
          <cx:pt idx="2316">6.8138063510234357</cx:pt>
          <cx:pt idx="2317">6.6731688721100797</cx:pt>
          <cx:pt idx="2318">6.4128567099846929</cx:pt>
          <cx:pt idx="2319">6.1889599939288367</cx:pt>
          <cx:pt idx="2320">6.1143230399251189</cx:pt>
          <cx:pt idx="2321">6.1626694397522179</cx:pt>
          <cx:pt idx="2322">6.1399450104363975</cx:pt>
          <cx:pt idx="2323">6.0075221664713947</cx:pt>
          <cx:pt idx="2324">5.9967733259295928</cx:pt>
          <cx:pt idx="2325">5.9985661369134489</cx:pt>
          <cx:pt idx="2326">5.9870828698392495</cx:pt>
          <cx:pt idx="2327">5.6886984735157711</cx:pt>
          <cx:pt idx="2328">5.6886984735157711</cx:pt>
          <cx:pt idx="2329">5.5972343401062368</cx:pt>
          <cx:pt idx="2330">5.6873751906428485</cx:pt>
          <cx:pt idx="2331">5.3999203498705644</cx:pt>
          <cx:pt idx="2332">5.5916604570258617</cx:pt>
          <cx:pt idx="2333">5.6141143174941206</cx:pt>
          <cx:pt idx="2334">5.7205533982994776</cx:pt>
          <cx:pt idx="2335">5.7766679386232926</cx:pt>
          <cx:pt idx="2336">5.7490532179851845</cx:pt>
          <cx:pt idx="2337">6.0193237215252129</cx:pt>
          <cx:pt idx="2338">5.8841869373753326</cx:pt>
          <cx:pt idx="2339">5.9423756156094036</cx:pt>
          <cx:pt idx="2340">5.8900316737925591</cx:pt>
          <cx:pt idx="2341">5.8900316737925591</cx:pt>
          <cx:pt idx="2342">5.8991524815010496</cx:pt>
          <cx:pt idx="2343">5.856528385586703</cx:pt>
          <cx:pt idx="2344">5.9708971606640331</cx:pt>
          <cx:pt idx="2345">5.9942624897228951</cx:pt>
          <cx:pt idx="2346">5.9910327255223343</cx:pt>
          <cx:pt idx="2347">6.2688854456899117</cx:pt>
          <cx:pt idx="2348">6.3533921174321897</cx:pt>
          <cx:pt idx="2349">6.5543222216294978</cx:pt>
          <cx:pt idx="2350">6.498138691318684</cx:pt>
          <cx:pt idx="2351">6.5680883783819892</cx:pt>
          <cx:pt idx="2352">6.447138233189162</cx:pt>
          <cx:pt idx="2353">6.3923677609628999</cx:pt>
          <cx:pt idx="2354">6.4526397032365708</cx:pt>
          <cx:pt idx="2355">6.4586359623858396</cx:pt>
          <cx:pt idx="2356">6.6256263651961849</cx:pt>
          <cx:pt idx="2357">6.6630097497100484</cx:pt>
          <cx:pt idx="2358">6.8445096119413105</cx:pt>
          <cx:pt idx="2359">6.934873691588014</cx:pt>
          <cx:pt idx="2360">7.1121583010310427</cx:pt>
          <cx:pt idx="2361">7.0282073763322588</cx:pt>
          <cx:pt idx="2362">6.8835162307446289</cx:pt>
          <cx:pt idx="2363">6.7662985227467418</cx:pt>
          <cx:pt idx="2364">6.6979374132189262</cx:pt>
          <cx:pt idx="2365">6.6022153336458178</cx:pt>
          <cx:pt idx="2366">6.6767128606565</cx:pt>
          <cx:pt idx="2367">6.6767128606565009</cx:pt>
          <cx:pt idx="2368">6.6321147635244628</cx:pt>
          <cx:pt idx="2369">6.6321147635244628</cx:pt>
          <cx:pt idx="2370">6.5052501542901853</cx:pt>
          <cx:pt idx="2371">6.6781621320813702</cx:pt>
          <cx:pt idx="2372">6.9511351281565865</cx:pt>
          <cx:pt idx="2373">6.9511351281565865</cx:pt>
          <cx:pt idx="2374">6.80733317432286</cx:pt>
          <cx:pt idx="2375">6.6064484627008619</cx:pt>
          <cx:pt idx="2376">6.7513439522283516</cx:pt>
          <cx:pt idx="2377">6.5140047639310286</cx:pt>
          <cx:pt idx="2378">6.3814246563883588</cx:pt>
          <cx:pt idx="2379">6.4546390752231719</cx:pt>
          <cx:pt idx="2380">6.2656256284691176</cx:pt>
          <cx:pt idx="2381">6.231208308927517</cx:pt>
          <cx:pt idx="2382">6.3138352947342753</cx:pt>
          <cx:pt idx="2383">6.3180914499469285</cx:pt>
          <cx:pt idx="2384">6.3962354519661995</cx:pt>
          <cx:pt idx="2385">6.3027558403285546</cx:pt>
          <cx:pt idx="2386">6.4857163157998414</cx:pt>
          <cx:pt idx="2387">6.4111797515318214</cx:pt>
          <cx:pt idx="2388">6.3186019959161612</cx:pt>
          <cx:pt idx="2389">6.1467711604487709</cx:pt>
          <cx:pt idx="2390">6.280709500363554</cx:pt>
          <cx:pt idx="2391">5.9937243165494101</cx:pt>
          <cx:pt idx="2392">5.9937243165494101</cx:pt>
          <cx:pt idx="2393">5.9591801413440466</cx:pt>
          <cx:pt idx="2394">6.0409521971520244</cx:pt>
          <cx:pt idx="2395">5.9670689060919395</cx:pt>
          <cx:pt idx="2396">5.9960304329098397</cx:pt>
          <cx:pt idx="2397">5.7892719331250548</cx:pt>
          <cx:pt idx="2398">5.8918457340502526</cx:pt>
          <cx:pt idx="2399">5.8380932960456651</cx:pt>
          <cx:pt idx="2400">5.7854139430773337</cx:pt>
          <cx:pt idx="2401">5.9120697873046506</cx:pt>
          <cx:pt idx="2402">5.5267942376620605</cx:pt>
          <cx:pt idx="2403">5.3224591523628844</cx:pt>
          <cx:pt idx="2404">5.4192638847570045</cx:pt>
          <cx:pt idx="2405">5.5625102667623239</cx:pt>
          <cx:pt idx="2406">5.7189056954054749</cx:pt>
          <cx:pt idx="2407">5.3039940555374363</cx:pt>
          <cx:pt idx="2408">5.4757039121316025</cx:pt>
          <cx:pt idx="2409">5.5908087838114149</cx:pt>
          <cx:pt idx="2410">5.2503270437120459</cx:pt>
          <cx:pt idx="2411">5.3792097408353063</cx:pt>
          <cx:pt idx="2412">5.4411451557609274</cx:pt>
          <cx:pt idx="2413">5.0290067698213612</cx:pt>
          <cx:pt idx="2414">5.2025634707004453</cx:pt>
          <cx:pt idx="2415">5.0110987927909694</cx:pt>
          <cx:pt idx="2416">4.8088460154178359</cx:pt>
          <cx:pt idx="2417">4.3861253103502689</cx:pt>
          <cx:pt idx="2418">4.6761807778000488</cx:pt>
          <cx:pt idx="2419">5.1478150704935004</cx:pt>
          <cx:pt idx="2420">5.3541261347363367</cx:pt>
          <cx:pt idx="2421">0.57735026918962573</cx:pt>
          <cx:pt idx="2422">0.70710678118654757</cx:pt>
        </cx:lvl>
      </cx:numDim>
    </cx:data>
    <cx:data id="3">
      <cx:numDim type="val">
        <cx:f>'Data Repository Table'!$F$4937:$F$7360</cx:f>
        <cx:lvl ptCount="2424" formatCode="General">
          <cx:pt idx="0">11.021484395469145</cx:pt>
          <cx:pt idx="1">10.806907388879946</cx:pt>
          <cx:pt idx="2">10.969557092047923</cx:pt>
          <cx:pt idx="3">10.384956033992488</cx:pt>
          <cx:pt idx="4">10.654798505030291</cx:pt>
          <cx:pt idx="5">10.698407076686447</cx:pt>
          <cx:pt idx="6">10.915117266719427</cx:pt>
          <cx:pt idx="7">11.133597318356355</cx:pt>
          <cx:pt idx="8">10.947479702102992</cx:pt>
          <cx:pt idx="9">10.923881306371783</cx:pt>
          <cx:pt idx="10">10.923881306371783</cx:pt>
          <cx:pt idx="11">11.054410884348384</cx:pt>
          <cx:pt idx="12">10.423608439653988</cx:pt>
          <cx:pt idx="13">10.739135545194712</cx:pt>
          <cx:pt idx="14">11.116586464542788</cx:pt>
          <cx:pt idx="15">11.513433014741791</cx:pt>
          <cx:pt idx="16">11.671581146169226</cx:pt>
          <cx:pt idx="17">11.361792225729406</cx:pt>
          <cx:pt idx="18">11.502126965530454</cx:pt>
          <cx:pt idx="19">11.728010767352654</cx:pt>
          <cx:pt idx="20">12.06211522312376</cx:pt>
          <cx:pt idx="21">12.551142688843074</cx:pt>
          <cx:pt idx="22">12.208493429901864</cx:pt>
          <cx:pt idx="23">12.208493429901864</cx:pt>
          <cx:pt idx="24">12.438407393819501</cx:pt>
          <cx:pt idx="25">12.364186923513</cx:pt>
          <cx:pt idx="26">12.286017929302389</cx:pt>
          <cx:pt idx="27">12.243936397034398</cx:pt>
          <cx:pt idx="28">11.859844601785245</cx:pt>
          <cx:pt idx="29">11.964912861569292</cx:pt>
          <cx:pt idx="30">12.18998354899346</cx:pt>
          <cx:pt idx="31">12.049807030088306</cx:pt>
          <cx:pt idx="32">12.578271074587574</cx:pt>
          <cx:pt idx="33">12.78725844325607</cx:pt>
          <cx:pt idx="34">13.173694871187042</cx:pt>
          <cx:pt idx="35">13.19278069118074</cx:pt>
          <cx:pt idx="36">12.860207861327869</cx:pt>
          <cx:pt idx="37">12.657948329566624</cx:pt>
          <cx:pt idx="38">12.5123594811269</cx:pt>
          <cx:pt idx="39">12.465867377056666</cx:pt>
          <cx:pt idx="40">12.336587771724496</cx:pt>
          <cx:pt idx="41">12.010658349087059</cx:pt>
          <cx:pt idx="42">11.948095632665142</cx:pt>
          <cx:pt idx="43">12.03158924602009</cx:pt>
          <cx:pt idx="44">11.586050195808102</cx:pt>
          <cx:pt idx="45">11.658399528661405</cx:pt>
          <cx:pt idx="46">11.901567620610193</cx:pt>
          <cx:pt idx="47">12.118678376431891</cx:pt>
          <cx:pt idx="48">12.04927160605815</cx:pt>
          <cx:pt idx="49">11.820066772003601</cx:pt>
          <cx:pt idx="50">11.850230250473924</cx:pt>
          <cx:pt idx="51">11.655540009078337</cx:pt>
          <cx:pt idx="52">11.447777640364343</cx:pt>
          <cx:pt idx="53">11.923321324104682</cx:pt>
          <cx:pt idx="54">12.143496865772734</cx:pt>
          <cx:pt idx="55">12.051413159450846</cx:pt>
          <cx:pt idx="56">11.950885151903121</cx:pt>
          <cx:pt idx="57">12.249467840097847</cx:pt>
          <cx:pt idx="58">12.545058573942805</cx:pt>
          <cx:pt idx="59">12.927340369629714</cx:pt>
          <cx:pt idx="60">12.728175502125323</cx:pt>
          <cx:pt idx="61">12.290305647266296</cx:pt>
          <cx:pt idx="62">12.972841772561399</cx:pt>
          <cx:pt idx="63">12.753915696420368</cx:pt>
          <cx:pt idx="64">12.83744522870497</cx:pt>
          <cx:pt idx="65">12.834680839742939</cx:pt>
          <cx:pt idx="66">12.571601381300736</cx:pt>
          <cx:pt idx="67">12.586218781898179</cx:pt>
          <cx:pt idx="68">12.561419000727106</cx:pt>
          <cx:pt idx="69">12.546858408142594</cx:pt>
          <cx:pt idx="70">12.465522344122927</cx:pt>
          <cx:pt idx="71">12.471214166860376</cx:pt>
          <cx:pt idx="72">12.286630552050495</cx:pt>
          <cx:pt idx="73">12.457152369674633</cx:pt>
          <cx:pt idx="74">12.579553302495386</cx:pt>
          <cx:pt idx="75">13.080314356158036</cx:pt>
          <cx:pt idx="76">12.934159157760492</cx:pt>
          <cx:pt idx="77">12.478713057438755</cx:pt>
          <cx:pt idx="78">12.478713057438753</cx:pt>
          <cx:pt idx="79">12.478713057438753</cx:pt>
          <cx:pt idx="80">12.355748303078702</cx:pt>
          <cx:pt idx="81">12.305519349121877</cx:pt>
          <cx:pt idx="82">12.85928809548105</cx:pt>
          <cx:pt idx="83">13.000496268443234</cx:pt>
          <cx:pt idx="84">13.000496268443234</cx:pt>
          <cx:pt idx="85">13.187563382103203</cx:pt>
          <cx:pt idx="86">13.307124779323033</cx:pt>
          <cx:pt idx="87">13.544192899184603</cx:pt>
          <cx:pt idx="88">13.105691121987663</cx:pt>
          <cx:pt idx="89">13.025037923293191</cx:pt>
          <cx:pt idx="90">12.970189144789405</cx:pt>
          <cx:pt idx="91">12.891107212388327</cx:pt>
          <cx:pt idx="92">12.86171279083694</cx:pt>
          <cx:pt idx="93">12.416083915025148</cx:pt>
          <cx:pt idx="94">12.603805535571176</cx:pt>
          <cx:pt idx="95">12.083045973594572</cx:pt>
          <cx:pt idx="96">12.125331167187907</cx:pt>
          <cx:pt idx="97">12.230404559904171</cx:pt>
          <cx:pt idx="98">12.554911646507628</cx:pt>
          <cx:pt idx="99">12.5623605753778</cx:pt>
          <cx:pt idx="100">12.531851891398853</cx:pt>
          <cx:pt idx="101">12.716681111619636</cx:pt>
          <cx:pt idx="102">13.14329625927757</cx:pt>
          <cx:pt idx="103">13.392904557007727</cx:pt>
          <cx:pt idx="104">13.236557392800563</cx:pt>
          <cx:pt idx="105">13.19538857214491</cx:pt>
          <cx:pt idx="106">12.572969811960622</cx:pt>
          <cx:pt idx="107">12.525157479747437</cx:pt>
          <cx:pt idx="108">12.662789446213651</cx:pt>
          <cx:pt idx="109">12.45991421983279</cx:pt>
          <cx:pt idx="110">12.505138728684937</cx:pt>
          <cx:pt idx="111">12.7267392710434</cx:pt>
          <cx:pt idx="112">12.870822216009707</cx:pt>
          <cx:pt idx="113">12.324728180823415</cx:pt>
          <cx:pt idx="114">12.117081163134072</cx:pt>
          <cx:pt idx="115">11.768282505033586</cx:pt>
          <cx:pt idx="116">11.127704455619448</cx:pt>
          <cx:pt idx="117">11.22104397803472</cx:pt>
          <cx:pt idx="118">10.800338505248668</cx:pt>
          <cx:pt idx="119">10.732925925614655</cx:pt>
          <cx:pt idx="120">11.365104108535453</cx:pt>
          <cx:pt idx="121">10.645610938695089</cx:pt>
          <cx:pt idx="122">10.623771276200943</cx:pt>
          <cx:pt idx="123">10.7879861494762</cx:pt>
          <cx:pt idx="124">10.773324284037505</cx:pt>
          <cx:pt idx="125">10.239497635526705</cx:pt>
          <cx:pt idx="126">10.280579875699873</cx:pt>
          <cx:pt idx="127">10.161597537598555</cx:pt>
          <cx:pt idx="128">10.648842634876598</cx:pt>
          <cx:pt idx="129">10.537184541637114</cx:pt>
          <cx:pt idx="130">10.687647376837097</cx:pt>
          <cx:pt idx="131">10.61881065774064</cx:pt>
          <cx:pt idx="132">10.801533144862812</cx:pt>
          <cx:pt idx="133">10.405436957647185</cx:pt>
          <cx:pt idx="134">10.177880295613029</cx:pt>
          <cx:pt idx="135">10.235716510001549</cx:pt>
          <cx:pt idx="136">10.728116009732538</cx:pt>
          <cx:pt idx="137">10.791573773835262</cx:pt>
          <cx:pt idx="138">11.116683190650452</cx:pt>
          <cx:pt idx="139">11.30467597610525</cx:pt>
          <cx:pt idx="140">11.59597631364719</cx:pt>
          <cx:pt idx="141">11.486504470300639</cx:pt>
          <cx:pt idx="142">11.679317257995146</cx:pt>
          <cx:pt idx="143">11.561430130683084</cx:pt>
          <cx:pt idx="144">11.625703817288302</cx:pt>
          <cx:pt idx="145">11.374088643628475</cx:pt>
          <cx:pt idx="146">11.354218580329182</cx:pt>
          <cx:pt idx="147">11.885384536959579</cx:pt>
          <cx:pt idx="148">11.539460116701573</cx:pt>
          <cx:pt idx="149">11.771205984204872</cx:pt>
          <cx:pt idx="150">11.772119422556193</cx:pt>
          <cx:pt idx="151">11.611358917627966</cx:pt>
          <cx:pt idx="152">11.779059239138743</cx:pt>
          <cx:pt idx="153">11.984308737427389</cx:pt>
          <cx:pt idx="154">11.884841705533626</cx:pt>
          <cx:pt idx="155">12.422750548199691</cx:pt>
          <cx:pt idx="156">12.812712101575116</cx:pt>
          <cx:pt idx="157">12.893776109642646</cx:pt>
          <cx:pt idx="158">12.970935251180716</cx:pt>
          <cx:pt idx="159">12.700012700019048</cx:pt>
          <cx:pt idx="160">13.181773013708977</cx:pt>
          <cx:pt idx="161">13.439630051232006</cx:pt>
          <cx:pt idx="162">13.558158278836343</cx:pt>
          <cx:pt idx="163">13.563391589047683</cx:pt>
          <cx:pt idx="164">13.985399452624238</cx:pt>
          <cx:pt idx="165">14.152396354704216</cx:pt>
          <cx:pt idx="166">14.570628874775846</cx:pt>
          <cx:pt idx="167">14.227869062671196</cx:pt>
          <cx:pt idx="168">14.604462420118216</cx:pt>
          <cx:pt idx="169">14.426677796986546</cx:pt>
          <cx:pt idx="170">14.602989824962455</cx:pt>
          <cx:pt idx="171">14.240484466810193</cx:pt>
          <cx:pt idx="172">14.385626039875351</cx:pt>
          <cx:pt idx="173">14.429062667490415</cx:pt>
          <cx:pt idx="174">14.309632818414643</cx:pt>
          <cx:pt idx="175">14.441651232548883</cx:pt>
          <cx:pt idx="176">14.361687384013381</cx:pt>
          <cx:pt idx="177">14.730919862656235</cx:pt>
          <cx:pt idx="178">14.368199653760472</cx:pt>
          <cx:pt idx="179">14.28850203214391</cx:pt>
          <cx:pt idx="180">14.085071789374306</cx:pt>
          <cx:pt idx="181">14.373437268960101</cx:pt>
          <cx:pt idx="182">13.939577753898766</cx:pt>
          <cx:pt idx="183">14.202756055424329</cx:pt>
          <cx:pt idx="184">14.794579071148767</cx:pt>
          <cx:pt idx="185">15.766917863829038</cx:pt>
          <cx:pt idx="186">15.700900597414545</cx:pt>
          <cx:pt idx="187">16.632265572209825</cx:pt>
          <cx:pt idx="188">17.851116648305165</cx:pt>
          <cx:pt idx="189">18.983297695549354</cx:pt>
          <cx:pt idx="190">19.999139766446191</cx:pt>
          <cx:pt idx="191">19.923509644616832</cx:pt>
          <cx:pt idx="192">20.342233201222111</cx:pt>
          <cx:pt idx="193">20.613180875509038</cx:pt>
          <cx:pt idx="194">20.742351874614471</cx:pt>
          <cx:pt idx="195">20.103388683481693</cx:pt>
          <cx:pt idx="196">20.463867974386424</cx:pt>
          <cx:pt idx="197">19.978483049176596</cx:pt>
          <cx:pt idx="198">19.522140725202849</cx:pt>
          <cx:pt idx="199">18.634976940994534</cx:pt>
          <cx:pt idx="200">18.6971908648481</cx:pt>
          <cx:pt idx="201">17.709544234373936</cx:pt>
          <cx:pt idx="202">17.666747818843842</cx:pt>
          <cx:pt idx="203">17.611885038906422</cx:pt>
          <cx:pt idx="204">17.609748033587863</cx:pt>
          <cx:pt idx="205">17.178193228062291</cx:pt>
          <cx:pt idx="206">15.837684744447845</cx:pt>
          <cx:pt idx="207">15.205191529946795</cx:pt>
          <cx:pt idx="208">15.376773435617842</cx:pt>
          <cx:pt idx="209">14.254295711698953</cx:pt>
          <cx:pt idx="210">12.908361881029405</cx:pt>
          <cx:pt idx="211">12.124887761369438</cx:pt>
          <cx:pt idx="212">9.1007502940130429</cx:pt>
          <cx:pt idx="213">7.0226974568104863</cx:pt>
          <cx:pt idx="214">6.7526179710069183</cx:pt>
          <cx:pt idx="215">6.6953683236433923</cx:pt>
          <cx:pt idx="216">6.9177969020848415</cx:pt>
          <cx:pt idx="217">6.9177969020848407</cx:pt>
          <cx:pt idx="218">6.841995558739165</cx:pt>
          <cx:pt idx="219">6.8419955587391641</cx:pt>
          <cx:pt idx="220">6.6004235771539292</cx:pt>
          <cx:pt idx="221">6.4434679769431984</cx:pt>
          <cx:pt idx="222">6.5976535418332265</cx:pt>
          <cx:pt idx="223">6.6742967089529204</cx:pt>
          <cx:pt idx="224">6.7099669085606148</cx:pt>
          <cx:pt idx="225">6.6014009591643417</cx:pt>
          <cx:pt idx="226">6.5950453869487502</cx:pt>
          <cx:pt idx="227">6.5950453869487493</cx:pt>
          <cx:pt idx="228">8.3613293175779901</cx:pt>
          <cx:pt idx="229">9.7914819245898563</cx:pt>
          <cx:pt idx="230">10.344080432788601</cx:pt>
          <cx:pt idx="231">10.397787192216606</cx:pt>
          <cx:pt idx="232">11.948185627322092</cx:pt>
          <cx:pt idx="233">13.613639586668178</cx:pt>
          <cx:pt idx="234">13.681712148405548</cx:pt>
          <cx:pt idx="235">14.260480017256805</cx:pt>
          <cx:pt idx="236">14.149052933844416</cx:pt>
          <cx:pt idx="237">14.150344803732388</cx:pt>
          <cx:pt idx="238">14.264626524815611</cx:pt>
          <cx:pt idx="239">14.235575608426439</cx:pt>
          <cx:pt idx="240">14.40183680041565</cx:pt>
          <cx:pt idx="241">14.697157943388349</cx:pt>
          <cx:pt idx="242">14.750979555590954</cx:pt>
          <cx:pt idx="243">15.660511259318</cx:pt>
          <cx:pt idx="244">15.126136320951231</cx:pt>
          <cx:pt idx="245">14.881033609609336</cx:pt>
          <cx:pt idx="246">14.833266883987928</cx:pt>
          <cx:pt idx="247">14.777343891008233</cx:pt>
          <cx:pt idx="248">14.706958341408125</cx:pt>
          <cx:pt idx="249">15.348566533186606</cx:pt>
          <cx:pt idx="250">14.440385423623418</cx:pt>
          <cx:pt idx="251">14.056414752664519</cx:pt>
          <cx:pt idx="252">14.843556945547078</cx:pt>
          <cx:pt idx="253">15.411837372059042</cx:pt>
          <cx:pt idx="254">15.226533151967226</cx:pt>
          <cx:pt idx="255">14.504652572073526</cx:pt>
          <cx:pt idx="256">14.331032573532722</cx:pt>
          <cx:pt idx="257">13.527749258468683</cx:pt>
          <cx:pt idx="258">12.703991414097475</cx:pt>
          <cx:pt idx="259">12.865892226958026</cx:pt>
          <cx:pt idx="260">13.092885698499721</cx:pt>
          <cx:pt idx="261">13.119959349530522</cx:pt>
          <cx:pt idx="262">13.20084715430786</cx:pt>
          <cx:pt idx="263">13.140268896284683</cx:pt>
          <cx:pt idx="264">12.763691784001574</cx:pt>
          <cx:pt idx="265">12.691712646151153</cx:pt>
          <cx:pt idx="266">13.292086739578293</cx:pt>
          <cx:pt idx="267">13.568939863978251</cx:pt>
          <cx:pt idx="268">13.37498869459878</cx:pt>
          <cx:pt idx="269">13.357612303537371</cx:pt>
          <cx:pt idx="270">13.426021917013584</cx:pt>
          <cx:pt idx="271">13.53196136909294</cx:pt>
          <cx:pt idx="272">13.989089450565176</cx:pt>
          <cx:pt idx="273">13.921129604395098</cx:pt>
          <cx:pt idx="274">13.781864349435333</cx:pt>
          <cx:pt idx="275">13.524569438419238</cx:pt>
          <cx:pt idx="276">13.809923189309332</cx:pt>
          <cx:pt idx="277">13.862147733484383</cx:pt>
          <cx:pt idx="278">13.856096053703668</cx:pt>
          <cx:pt idx="279">13.475266071544738</cx:pt>
          <cx:pt idx="280">13.438989977409138</cx:pt>
          <cx:pt idx="281">13.34843231099781</cx:pt>
          <cx:pt idx="282">13.037827512149375</cx:pt>
          <cx:pt idx="283">12.734425444355526</cx:pt>
          <cx:pt idx="284">12.635757420566362</cx:pt>
          <cx:pt idx="285">12.393373185889756</cx:pt>
          <cx:pt idx="286">12.664148023506767</cx:pt>
          <cx:pt idx="287">12.103851693012915</cx:pt>
          <cx:pt idx="288">12.153321595615397</cx:pt>
          <cx:pt idx="289">11.511004552446829</cx:pt>
          <cx:pt idx="290">12.371663773160384</cx:pt>
          <cx:pt idx="291">11.532842304172167</cx:pt>
          <cx:pt idx="292">11.151739340684962</cx:pt>
          <cx:pt idx="293">11.637536597773437</cx:pt>
          <cx:pt idx="294">11.831705173466247</cx:pt>
          <cx:pt idx="295">12.55482600094396</cx:pt>
          <cx:pt idx="296">12.159690148853672</cx:pt>
          <cx:pt idx="297">12.697472443427978</cx:pt>
          <cx:pt idx="298">13.123483015252196</cx:pt>
          <cx:pt idx="299">13.603367704477661</cx:pt>
          <cx:pt idx="300">13.78428277470044</cx:pt>
          <cx:pt idx="301">13.645984875625739</cx:pt>
          <cx:pt idx="302">13.49288940576217</cx:pt>
          <cx:pt idx="303">13.193269708127621</cx:pt>
          <cx:pt idx="304">13.232332510026868</cx:pt>
          <cx:pt idx="305">13.075381118646197</cx:pt>
          <cx:pt idx="306">13.13609490097083</cx:pt>
          <cx:pt idx="307">12.905696000112192</cx:pt>
          <cx:pt idx="308">13.051098911421176</cx:pt>
          <cx:pt idx="309">12.809354780490432</cx:pt>
          <cx:pt idx="310">12.849250009492835</cx:pt>
          <cx:pt idx="311">12.570061718738824</cx:pt>
          <cx:pt idx="312">12.520349028080098</cx:pt>
          <cx:pt idx="313">12.336587771724496</cx:pt>
          <cx:pt idx="314">12.668647270167165</cx:pt>
          <cx:pt idx="315">12.30770368072262</cx:pt>
          <cx:pt idx="316">12.30770368072262</cx:pt>
          <cx:pt idx="317">11.950435273487175</cx:pt>
          <cx:pt idx="318">12.361229712289955</cx:pt>
          <cx:pt idx="319">12.923846426339679</cx:pt>
          <cx:pt idx="320">12.823868874221455</cx:pt>
          <cx:pt idx="321">12.612078184384691</cx:pt>
          <cx:pt idx="322">12.608667440441751</cx:pt>
          <cx:pt idx="323">12.817746434374257</cx:pt>
          <cx:pt idx="324">12.596210387613898</cx:pt>
          <cx:pt idx="325">12.811285347616941</cx:pt>
          <cx:pt idx="326">12.633119128890186</cx:pt>
          <cx:pt idx="327">12.987669917751727</cx:pt>
          <cx:pt idx="328">12.548829358931052</cx:pt>
          <cx:pt idx="329">12.226623515126535</cx:pt>
          <cx:pt idx="330">12.226623515126535</cx:pt>
          <cx:pt idx="331">11.990767057351082</cx:pt>
          <cx:pt idx="332">12.537256306661545</cx:pt>
          <cx:pt idx="333">12.719640219433408</cx:pt>
          <cx:pt idx="334">12.74936220205308</cx:pt>
          <cx:pt idx="335">12.984026580246942</cx:pt>
          <cx:pt idx="336">12.866477239677524</cx:pt>
          <cx:pt idx="337">12.976073929492539</cx:pt>
          <cx:pt idx="338">13.132574619206711</cx:pt>
          <cx:pt idx="339">13.038074928817611</cx:pt>
          <cx:pt idx="340">13.589053152865281</cx:pt>
          <cx:pt idx="341">13.487549017320518</cx:pt>
          <cx:pt idx="342">13.392904557007723</cx:pt>
          <cx:pt idx="343">13.946287130673266</cx:pt>
          <cx:pt idx="344">13.940580509657284</cx:pt>
          <cx:pt idx="345">14.11496574790446</cx:pt>
          <cx:pt idx="346">14.368199653760476</cx:pt>
          <cx:pt idx="347">14.060392016438019</cx:pt>
          <cx:pt idx="348">14.231269523765777</cx:pt>
          <cx:pt idx="349">13.751793626905156</cx:pt>
          <cx:pt idx="350">13.292814778337311</cx:pt>
          <cx:pt idx="351">13.17418459658685</cx:pt>
          <cx:pt idx="352">12.974830887496752</cx:pt>
          <cx:pt idx="353">13.403337732281143</cx:pt>
          <cx:pt idx="354">13.243866504914644</cx:pt>
          <cx:pt idx="355">13.617114468624141</cx:pt>
          <cx:pt idx="356">13.444189695148598</cx:pt>
          <cx:pt idx="357">13.419853692133891</cx:pt>
          <cx:pt idx="358">13.230707195884346</cx:pt>
          <cx:pt idx="359">13.12372881708991</cx:pt>
          <cx:pt idx="360">12.790285291949605</cx:pt>
          <cx:pt idx="361">12.69747244342798</cx:pt>
          <cx:pt idx="362">12.81061387900632</cx:pt>
          <cx:pt idx="363">12.922015888539061</cx:pt>
          <cx:pt idx="364">12.826635593372149</cx:pt>
          <cx:pt idx="365">12.896277699189936</cx:pt>
          <cx:pt idx="366">12.357749734260832</cx:pt>
          <cx:pt idx="367">12.481125535129271</cx:pt>
          <cx:pt idx="368">11.929992924675004</cx:pt>
          <cx:pt idx="369">11.800400940882959</cx:pt>
          <cx:pt idx="370">12.493180935713413</cx:pt>
          <cx:pt idx="371">12.148985532231304</cx:pt>
          <cx:pt idx="372">12.30412117338993</cx:pt>
          <cx:pt idx="373">12.21254422956739</cx:pt>
          <cx:pt idx="374">12.102874447521677</cx:pt>
          <cx:pt idx="375">11.373615950301218</cx:pt>
          <cx:pt idx="376">11.464953610474076</cx:pt>
          <cx:pt idx="377">11.384766278927575</cx:pt>
          <cx:pt idx="378">11.34768225115236</cx:pt>
          <cx:pt idx="379">11.409861797434671</cx:pt>
          <cx:pt idx="380">11.366239389061906</cx:pt>
          <cx:pt idx="381">11.286208159681264</cx:pt>
          <cx:pt idx="382">11.245357465022135</cx:pt>
          <cx:pt idx="383">11.499228585627653</cx:pt>
          <cx:pt idx="384">11.406091562458318</cx:pt>
          <cx:pt idx="385">11.454256850621082</cx:pt>
          <cx:pt idx="386">11.071517268362813</cx:pt>
          <cx:pt idx="387">10.831951938394985</cx:pt>
          <cx:pt idx="388">11.27524646274745</cx:pt>
          <cx:pt idx="389">11.194852887947912</cx:pt>
          <cx:pt idx="390">11.256921407289493</cx:pt>
          <cx:pt idx="391">11.286493974505952</cx:pt>
          <cx:pt idx="392">11.360561851924308</cx:pt>
          <cx:pt idx="393">11.323588473358544</cx:pt>
          <cx:pt idx="394">11.460075625114056</cx:pt>
          <cx:pt idx="395">11.378152995605124</cx:pt>
          <cx:pt idx="396">11.459887968826944</cx:pt>
          <cx:pt idx="397">11.464390871935418</cx:pt>
          <cx:pt idx="398">11.125868336294436</cx:pt>
          <cx:pt idx="399">10.789979421388093</cx:pt>
          <cx:pt idx="400">10.764038095855671</cx:pt>
          <cx:pt idx="401">10.581176225854129</cx:pt>
          <cx:pt idx="402">11.042634873355027</cx:pt>
          <cx:pt idx="403">11.20637299481526</cx:pt>
          <cx:pt idx="404">11.212895801623439</cx:pt>
          <cx:pt idx="405">11.077828287615423</cx:pt>
          <cx:pt idx="406">11.152799928114874</cx:pt>
          <cx:pt idx="407">11.186589513620163</cx:pt>
          <cx:pt idx="408">11.102358559846545</cx:pt>
          <cx:pt idx="409">11.467860653015856</cx:pt>
          <cx:pt idx="410">11.467860653015856</cx:pt>
          <cx:pt idx="411">11.544397701031002</cx:pt>
          <cx:pt idx="412">11.544397701031002</cx:pt>
          <cx:pt idx="413">11.663010179692588</cx:pt>
          <cx:pt idx="414">11.239331859374975</cx:pt>
          <cx:pt idx="415">11.09877451338321</cx:pt>
          <cx:pt idx="416">10.486037824045448</cx:pt>
          <cx:pt idx="417">11.023532989468144</cx:pt>
          <cx:pt idx="418">11.285255391319765</cx:pt>
          <cx:pt idx="419">11.109619971627225</cx:pt>
          <cx:pt idx="420">11.1415139605591</cx:pt>
          <cx:pt idx="421">11.318839562086657</cx:pt>
          <cx:pt idx="422">11.439226983432693</cx:pt>
          <cx:pt idx="423">11.271049602401053</cx:pt>
          <cx:pt idx="424">11.450501233335755</cx:pt>
          <cx:pt idx="425">11.574907974738112</cx:pt>
          <cx:pt idx="426">11.800309819151234</cx:pt>
          <cx:pt idx="427">12.089540489502149</cx:pt>
          <cx:pt idx="428">12.122581789673015</cx:pt>
          <cx:pt idx="429">12.638480240744885</cx:pt>
          <cx:pt idx="430">12.587756468220453</cx:pt>
          <cx:pt idx="431">12.924096025042376</cx:pt>
          <cx:pt idx="432">12.701282637795339</cx:pt>
          <cx:pt idx="433">12.751133198640124</cx:pt>
          <cx:pt idx="434">12.821269291164551</cx:pt>
          <cx:pt idx="435">12.826216431862877</cx:pt>
          <cx:pt idx="436">12.803897256157461</cx:pt>
          <cx:pt idx="437">12.803897256157461</cx:pt>
          <cx:pt idx="438">12.325513359284166</cx:pt>
          <cx:pt idx="439">12.574423606362959</cx:pt>
          <cx:pt idx="440">12.668647270167165</cx:pt>
          <cx:pt idx="441">12.598856408249873</cx:pt>
          <cx:pt idx="442">12.599965864435754</cx:pt>
          <cx:pt idx="443">13.054641163738609</cx:pt>
          <cx:pt idx="444">13.054641163738609</cx:pt>
          <cx:pt idx="445">13.033125703045984</cx:pt>
          <cx:pt idx="446">13.298718508882523</cx:pt>
          <cx:pt idx="447">13.558237586486412</cx:pt>
          <cx:pt idx="448">13.246301979383992</cx:pt>
          <cx:pt idx="449">13.08376651566968</cx:pt>
          <cx:pt idx="450">13.190579890568205</cx:pt>
          <cx:pt idx="451">13.295322162243735</cx:pt>
          <cx:pt idx="452">12.917355167220922</cx:pt>
          <cx:pt idx="453">13.307690395253189</cx:pt>
          <cx:pt idx="454">13.256039402670817</cx:pt>
          <cx:pt idx="455">13.390415445625713</cx:pt>
          <cx:pt idx="456">13.020331495705648</cx:pt>
          <cx:pt idx="457">12.900862686832852</cx:pt>
          <cx:pt idx="458">12.715750964085652</cx:pt>
          <cx:pt idx="459">13.03296069648524</cx:pt>
          <cx:pt idx="460">12.904362853126894</cx:pt>
          <cx:pt idx="461">12.907029009398807</cx:pt>
          <cx:pt idx="462">12.554397764361553</cx:pt>
          <cx:pt idx="463">13.024047237768025</cx:pt>
          <cx:pt idx="464">12.572285615249038</cx:pt>
          <cx:pt idx="465">12.702975690673799</cx:pt>
          <cx:pt idx="466">12.971349736187618</cx:pt>
          <cx:pt idx="467">13.018844901935241</cx:pt>
          <cx:pt idx="468">12.95998805256319</cx:pt>
          <cx:pt idx="469">12.917105438263862</cx:pt>
          <cx:pt idx="470">12.719302070526131</cx:pt>
          <cx:pt idx="471">12.350264461057687</cx:pt>
          <cx:pt idx="472">12.617959550807191</cx:pt>
          <cx:pt idx="473">12.794151889853627</cx:pt>
          <cx:pt idx="474">12.498257943125644</cx:pt>
          <cx:pt idx="475">12.38139429673342</cx:pt>
          <cx:pt idx="476">12.336239122963072</cx:pt>
          <cx:pt idx="477">12.112465808289794</cx:pt>
          <cx:pt idx="478">11.634302267317617</cx:pt>
          <cx:pt idx="479">11.89072105937348</cx:pt>
          <cx:pt idx="480">12.344342659652833</cx:pt>
          <cx:pt idx="481">12.467851131127487</cx:pt>
          <cx:pt idx="482">12.259821605816766</cx:pt>
          <cx:pt idx="483">12.309538219721961</cx:pt>
          <cx:pt idx="484">12.103851693012915</cx:pt>
          <cx:pt idx="485">12.164817947627688</cx:pt>
          <cx:pt idx="486">11.408165345888872</cx:pt>
          <cx:pt idx="487">12.024884592475953</cx:pt>
          <cx:pt idx="488">12.425693117986038</cx:pt>
          <cx:pt idx="489">12.006718549319819</cx:pt>
          <cx:pt idx="490">12.105006517788368</cx:pt>
          <cx:pt idx="491">12.021575585999219</cx:pt>
          <cx:pt idx="492">12.377225009053168</cx:pt>
          <cx:pt idx="493">12.320626991446725</cx:pt>
          <cx:pt idx="494">12.271130557584755</cx:pt>
          <cx:pt idx="495">12.483795948761843</cx:pt>
          <cx:pt idx="496">12.233217602218387</cx:pt>
          <cx:pt idx="497">11.941794321328064</cx:pt>
          <cx:pt idx="498">11.887465161126205</cx:pt>
          <cx:pt idx="499">11.907529017887295</cx:pt>
          <cx:pt idx="500">12.034270061535867</cx:pt>
          <cx:pt idx="501">11.964373638395776</cx:pt>
          <cx:pt idx="502">12.244990197882421</cx:pt>
          <cx:pt idx="503">11.738458069502244</cx:pt>
          <cx:pt idx="504">11.901115877924429</cx:pt>
          <cx:pt idx="505">11.868545217986822</cx:pt>
          <cx:pt idx="506">11.76426153493561</cx:pt>
          <cx:pt idx="507">11.757221528257265</cx:pt>
          <cx:pt idx="508">11.718747043010382</cx:pt>
          <cx:pt idx="509">11.777233368089959</cx:pt>
          <cx:pt idx="510">11.777233368089961</cx:pt>
          <cx:pt idx="511">11.392319616151889</cx:pt>
          <cx:pt idx="512">10.884041785632663</cx:pt>
          <cx:pt idx="513">11.298015812093848</cx:pt>
          <cx:pt idx="514">11.328335393856367</cx:pt>
          <cx:pt idx="515">11.545701616032332</cx:pt>
          <cx:pt idx="516">11.326626731656678</cx:pt>
          <cx:pt idx="517">11.258640648289289</cx:pt>
          <cx:pt idx="518">10.985425339624912</cx:pt>
          <cx:pt idx="519">10.563886544484051</cx:pt>
          <cx:pt idx="520">10.846732821602354</cx:pt>
          <cx:pt idx="521">10.50376276665008</cx:pt>
          <cx:pt idx="522">10.310345571631032</cx:pt>
          <cx:pt idx="523">9.8516959950302283</cx:pt>
          <cx:pt idx="524">9.860859959444964</cx:pt>
          <cx:pt idx="525">9.5111705689361834</cx:pt>
          <cx:pt idx="526">9.3047565590753596</cx:pt>
          <cx:pt idx="527">9.3241506286758664</cx:pt>
          <cx:pt idx="528">9.7456910798391263</cx:pt>
          <cx:pt idx="529">10.089385458229415</cx:pt>
          <cx:pt idx="530">10.072105630301788</cx:pt>
          <cx:pt idx="531">10.180943615560683</cx:pt>
          <cx:pt idx="532">10.161491720141028</cx:pt>
          <cx:pt idx="533">9.988918591301859</cx:pt>
          <cx:pt idx="534">10.233930492891446</cx:pt>
          <cx:pt idx="535">9.8811213503217807</cx:pt>
          <cx:pt idx="536">9.717626153774189</cx:pt>
          <cx:pt idx="537">9.7310057608799916</cx:pt>
          <cx:pt idx="538">9.7740054632529692</cx:pt>
          <cx:pt idx="539">10.060141729265212</cx:pt>
          <cx:pt idx="540">9.9731898672908166</cx:pt>
          <cx:pt idx="541">9.872411869904548</cx:pt>
          <cx:pt idx="542">9.7991660825796068</cx:pt>
          <cx:pt idx="543">9.8215256244331961</cx:pt>
          <cx:pt idx="544">9.2113767899045023</cx:pt>
          <cx:pt idx="545">9.6635886831217697</cx:pt>
          <cx:pt idx="546">9.7217193930389314</cx:pt>
          <cx:pt idx="547">9.8111194323649453</cx:pt>
          <cx:pt idx="548">9.8757877050744103</cx:pt>
          <cx:pt idx="549">10.297927550141193</cx:pt>
          <cx:pt idx="550">10.354366384564845</cx:pt>
          <cx:pt idx="551">10.518800373156751</cx:pt>
          <cx:pt idx="552">10.669220124475647</cx:pt>
          <cx:pt idx="553">10.860998587725744</cx:pt>
          <cx:pt idx="554">10.729519124600195</cx:pt>
          <cx:pt idx="555">10.945613350237767</cx:pt>
          <cx:pt idx="556">10.741738510900326</cx:pt>
          <cx:pt idx="557">11.133983626620326</cx:pt>
          <cx:pt idx="558">11.672594500178244</cx:pt>
          <cx:pt idx="559">11.467016748844468</cx:pt>
          <cx:pt idx="560">11.450595138780258</cx:pt>
          <cx:pt idx="561">12.095053641081762</cx:pt>
          <cx:pt idx="562">12.221345683785426</cx:pt>
          <cx:pt idx="563">12.251135562903757</cx:pt>
          <cx:pt idx="564">12.262978641475744</cx:pt>
          <cx:pt idx="565">12.262978641475744</cx:pt>
          <cx:pt idx="566">12.376616870586659</cx:pt>
          <cx:pt idx="567">12.500236556901417</cx:pt>
          <cx:pt idx="568">12.44177838825164</cx:pt>
          <cx:pt idx="569">12.84958473869834</cx:pt>
          <cx:pt idx="570">13.078916794449341</cx:pt>
          <cx:pt idx="571">13.20524496643875</cx:pt>
          <cx:pt idx="572">13.532914872496484</cx:pt>
          <cx:pt idx="573">14.675339566696556</cx:pt>
          <cx:pt idx="574">15.191112285580616</cx:pt>
          <cx:pt idx="575">15.823488733491255</cx:pt>
          <cx:pt idx="576">16.050659049209742</cx:pt>
          <cx:pt idx="577">16.395842641169086</cx:pt>
          <cx:pt idx="578">16.590254944990598</cx:pt>
          <cx:pt idx="579">17.160845656782595</cx:pt>
          <cx:pt idx="580">17.726718792257774</cx:pt>
          <cx:pt idx="581">17.976567782736275</cx:pt>
          <cx:pt idx="582">18.483936647221409</cx:pt>
          <cx:pt idx="583">18.592980523067915</cx:pt>
          <cx:pt idx="584">18.215082961980382</cx:pt>
          <cx:pt idx="585">17.965438743523961</cx:pt>
          <cx:pt idx="586">18.049513739615236</cx:pt>
          <cx:pt idx="587">18.11017654866059</cx:pt>
          <cx:pt idx="588">16.945199466109468</cx:pt>
          <cx:pt idx="589">17.192146243942851</cx:pt>
          <cx:pt idx="590">17.269526893918805</cx:pt>
          <cx:pt idx="591">17.21033697882558</cx:pt>
          <cx:pt idx="592">17.321811720784943</cx:pt>
          <cx:pt idx="593">15.758459069911137</cx:pt>
          <cx:pt idx="594">15.49644426783888</cx:pt>
          <cx:pt idx="595">15.534560844940593</cx:pt>
          <cx:pt idx="596">14.235500074306886</cx:pt>
          <cx:pt idx="597">13.989089450565178</cx:pt>
          <cx:pt idx="598">13.86594807898228</cx:pt>
          <cx:pt idx="599">12.986759179198428</cx:pt>
          <cx:pt idx="600">9.7539625253656048</cx:pt>
          <cx:pt idx="601">9.6873712270317505</cx:pt>
          <cx:pt idx="602">5.5976185412488881</cx:pt>
          <cx:pt idx="603">5.1443674177718171</cx:pt>
          <cx:pt idx="604">5.1213237536058323</cx:pt>
          <cx:pt idx="605">5.0124575991020324</cx:pt>
          <cx:pt idx="606">5.2941436502277988</cx:pt>
          <cx:pt idx="607">5.1416494571085787</cx:pt>
          <cx:pt idx="608">5.2961743141244311</cx:pt>
          <cx:pt idx="609">5.2961743141244311</cx:pt>
          <cx:pt idx="610">5.456179292611111</cx:pt>
          <cx:pt idx="611">5.4679909227414409</cx:pt>
          <cx:pt idx="612">5.4856606820217699</cx:pt>
          <cx:pt idx="613">5.7554088632169043</cx:pt>
          <cx:pt idx="614">5.6650218991879946</cx:pt>
          <cx:pt idx="615">5.6574244681571511</cx:pt>
          <cx:pt idx="616">5.7893116198955861</cx:pt>
          <cx:pt idx="617">7.403137957170812</cx:pt>
          <cx:pt idx="618">9.7054468688840476</cx:pt>
          <cx:pt idx="619">11.094995481350265</cx:pt>
          <cx:pt idx="620">12.580920868222369</cx:pt>
          <cx:pt idx="621">13.913867144857003</cx:pt>
          <cx:pt idx="622">15.502896018042454</cx:pt>
          <cx:pt idx="623">15.864750946064207</cx:pt>
          <cx:pt idx="624">17.415602941226343</cx:pt>
          <cx:pt idx="625">18.047130650914642</cx:pt>
          <cx:pt idx="626">17.813248663761176</cx:pt>
          <cx:pt idx="627">18.124301988784151</cx:pt>
          <cx:pt idx="628">18.856789085728675</cx:pt>
          <cx:pt idx="629">18.351877229576878</cx:pt>
          <cx:pt idx="630">18.476488983605361</cx:pt>
          <cx:pt idx="631">18.122166074335773</cx:pt>
          <cx:pt idx="632">17.668877930186397</cx:pt>
          <cx:pt idx="633">17.501950736129174</cx:pt>
          <cx:pt idx="634">17.507479200529964</cx:pt>
          <cx:pt idx="635">17.09656319610113</cx:pt>
          <cx:pt idx="636">16.494313128814969</cx:pt>
          <cx:pt idx="637">16.315373052721238</cx:pt>
          <cx:pt idx="638">15.97026807431833</cx:pt>
          <cx:pt idx="639">16.077634234570869</cx:pt>
          <cx:pt idx="640">15.882634054719297</cx:pt>
          <cx:pt idx="641">15.654605286198265</cx:pt>
          <cx:pt idx="642">15.25242797523676</cx:pt>
          <cx:pt idx="643">14.457650428544003</cx:pt>
          <cx:pt idx="644">12.936652938349697</cx:pt>
          <cx:pt idx="645">12.1337527990827</cx:pt>
          <cx:pt idx="646">11.189568875202621</cx:pt>
          <cx:pt idx="647">10.54259154853017</cx:pt>
          <cx:pt idx="648">10.569483359872594</cx:pt>
          <cx:pt idx="649">10.549626706946267</cx:pt>
          <cx:pt idx="650">10.614252945516132</cx:pt>
          <cx:pt idx="651">10.751644035326203</cx:pt>
          <cx:pt idx="652">10.60766612621086</cx:pt>
          <cx:pt idx="653">10.423608439653984</cx:pt>
          <cx:pt idx="654">10.697301438424372</cx:pt>
          <cx:pt idx="655">10.009565317707976</cx:pt>
          <cx:pt idx="656">10.372938323462911</cx:pt>
          <cx:pt idx="657">10.146984296951517</cx:pt>
          <cx:pt idx="658">9.9128460156017866</cx:pt>
          <cx:pt idx="659">9.2607391887786488</cx:pt>
          <cx:pt idx="660">9.1645647639060286</cx:pt>
          <cx:pt idx="661">9.6185305027461485</cx:pt>
          <cx:pt idx="662">9.3825507227254636</cx:pt>
          <cx:pt idx="663">9.2811521346348265</cx:pt>
          <cx:pt idx="664">10.068795616223936</cx:pt>
          <cx:pt idx="665">10.012894911868846</cx:pt>
          <cx:pt idx="666">10.080322575483708</cx:pt>
          <cx:pt idx="667">10.008061266927806</cx:pt>
          <cx:pt idx="668">10.180626763138044</cx:pt>
          <cx:pt idx="669">9.7300112168265205</cx:pt>
          <cx:pt idx="670">9.8098041807426579</cx:pt>
          <cx:pt idx="671">10.380709984627556</cx:pt>
          <cx:pt idx="672">10.667607485390787</cx:pt>
          <cx:pt idx="673">10.801035394414642</cx:pt>
          <cx:pt idx="674">10.629437719680149</cx:pt>
          <cx:pt idx="675">10.403680076770188</cx:pt>
          <cx:pt idx="676">10.215947895219976</cx:pt>
          <cx:pt idx="677">10.367961403087589</cx:pt>
          <cx:pt idx="678">10.525749277341843</cx:pt>
          <cx:pt idx="679">10.946399221386843</cx:pt>
          <cx:pt idx="680">10.892041091539497</cx:pt>
          <cx:pt idx="681">10.836616541361797</cx:pt>
          <cx:pt idx="682">10.581582701709527</cx:pt>
          <cx:pt idx="683">10.422473650206427</cx:pt>
          <cx:pt idx="684">10.296256757958517</cx:pt>
          <cx:pt idx="685">10.579041971381816</cx:pt>
          <cx:pt idx="686">10.743640279328648</cx:pt>
          <cx:pt idx="687">10.369828028146529</cx:pt>
          <cx:pt idx="688">10.383817020439956</cx:pt>
          <cx:pt idx="689">10.784895849966455</cx:pt>
          <cx:pt idx="690">10.969949177012468</cx:pt>
          <cx:pt idx="691">11.407882579437631</cx:pt>
          <cx:pt idx="692">11.185339867746052</cx:pt>
          <cx:pt idx="693">10.953469524477436</cx:pt>
          <cx:pt idx="694">10.887894036917322</cx:pt>
          <cx:pt idx="695">10.899146656938898</cx:pt>
          <cx:pt idx="696">11.169466829142376</cx:pt>
          <cx:pt idx="697">11.5581745033315</cx:pt>
          <cx:pt idx="698">11.770566535181718</cx:pt>
          <cx:pt idx="699">12.148188944186534</cx:pt>
          <cx:pt idx="700">12.23954458355797</cx:pt>
          <cx:pt idx="701">12.283917276500766</cx:pt>
          <cx:pt idx="702">12.354181739460243</cx:pt>
          <cx:pt idx="703">12.173742234826561</cx:pt>
          <cx:pt idx="704">12.12417827833009</cx:pt>
          <cx:pt idx="705">12.266748480325578</cx:pt>
          <cx:pt idx="706">12.148631499548745</cx:pt>
          <cx:pt idx="707">12.189277854887711</cx:pt>
          <cx:pt idx="708">12.443333923823829</cx:pt>
          <cx:pt idx="709">12.510898474736388</cx:pt>
          <cx:pt idx="710">12.137917130136643</cx:pt>
          <cx:pt idx="711">12.239808136805349</cx:pt>
          <cx:pt idx="712">12.400832438239393</cx:pt>
          <cx:pt idx="713">12.540514986595737</cx:pt>
          <cx:pt idx="714">12.774133811090907</cx:pt>
          <cx:pt idx="715">12.933078370172829</cx:pt>
          <cx:pt idx="716">12.267449717877192</cx:pt>
          <cx:pt idx="717">12.430451682551929</cx:pt>
          <cx:pt idx="718">12.553027309125714</cx:pt>
          <cx:pt idx="719">12.621197393904986</cx:pt>
          <cx:pt idx="720">12.30228582659092</cx:pt>
          <cx:pt idx="721">12.395889016772015</cx:pt>
          <cx:pt idx="722">11.97371673596458</cx:pt>
          <cx:pt idx="723">12.340596524505822</cx:pt>
          <cx:pt idx="724">12.68908598858903</cx:pt>
          <cx:pt idx="725">12.697472443427978</cx:pt>
          <cx:pt idx="726">12.324466443553634</cx:pt>
          <cx:pt idx="727">12.038200844390847</cx:pt>
          <cx:pt idx="728">11.492026221109429</cx:pt>
          <cx:pt idx="729">11.237896715161835</cx:pt>
          <cx:pt idx="730">11.066271530709784</cx:pt>
          <cx:pt idx="731">10.926932298791163</cx:pt>
          <cx:pt idx="732">10.894015324593274</cx:pt>
          <cx:pt idx="733">11.028506562053055</cx:pt>
          <cx:pt idx="734">11.623206301670068</cx:pt>
          <cx:pt idx="735">11.652033834190419</cx:pt>
          <cx:pt idx="736">11.548960759464721</cx:pt>
          <cx:pt idx="737">12.225568131135347</cx:pt>
          <cx:pt idx="738">12.292930042600016</cx:pt>
          <cx:pt idx="739">12.013701854884888</cx:pt>
          <cx:pt idx="740">11.773946086661553</cx:pt>
          <cx:pt idx="741">11.817428354055115</cx:pt>
          <cx:pt idx="742">11.788914056165476</cx:pt>
          <cx:pt idx="743">11.746973986923713</cx:pt>
          <cx:pt idx="744">11.603670164664393</cx:pt>
          <cx:pt idx="745">11.145084262840118</cx:pt>
          <cx:pt idx="746">11.040979386198112</cx:pt>
          <cx:pt idx="747">11.511565012293422</cx:pt>
          <cx:pt idx="748">11.80887218855346</cx:pt>
          <cx:pt idx="749">11.758501842981438</cx:pt>
          <cx:pt idx="750">11.805958036571633</cx:pt>
          <cx:pt idx="751">11.784443910493609</cx:pt>
          <cx:pt idx="752">11.947105646696748</cx:pt>
          <cx:pt idx="753">12.510554683731</cx:pt>
          <cx:pt idx="754">12.247360918269926</cx:pt>
          <cx:pt idx="755">12.247360918269926</cx:pt>
          <cx:pt idx="756">12.408287206453979</cx:pt>
          <cx:pt idx="757">12.37939668827166</cx:pt>
          <cx:pt idx="758">12.600989891137885</cx:pt>
          <cx:pt idx="759">12.817578655137842</cx:pt>
          <cx:pt idx="760">12.85493922061055</cx:pt>
          <cx:pt idx="761">12.753325520347898</cx:pt>
          <cx:pt idx="762">12.590660474446752</cx:pt>
          <cx:pt idx="763">12.427683284826539</cx:pt>
          <cx:pt idx="764">12.081800051032062</cx:pt>
          <cx:pt idx="765">11.60385549572173</cx:pt>
          <cx:pt idx="766">11.586514222489736</cx:pt>
          <cx:pt idx="767">11.610154991417263</cx:pt>
          <cx:pt idx="768">11.005668138863523</cx:pt>
          <cx:pt idx="769">10.950425925825408</cx:pt>
          <cx:pt idx="770">10.691268671511891</cx:pt>
          <cx:pt idx="771">10.708151854033085</cx:pt>
          <cx:pt idx="772">10.617392912483957</cx:pt>
          <cx:pt idx="773">10.512972017710371</cx:pt>
          <cx:pt idx="774">10.29698776289684</cx:pt>
          <cx:pt idx="775">10.937456605136649</cx:pt>
          <cx:pt idx="776">10.937456605136651</cx:pt>
          <cx:pt idx="777">10.618709396499737</cx:pt>
          <cx:pt idx="778">10.490343742125754</cx:pt>
          <cx:pt idx="779">10.441645320027266</cx:pt>
          <cx:pt idx="780">10.444116520437385</cx:pt>
          <cx:pt idx="781">10.181471681019296</cx:pt>
          <cx:pt idx="782">10.323269466264954</cx:pt>
          <cx:pt idx="783">10.164559979157607</cx:pt>
          <cx:pt idx="784">9.6932522810946296</cx:pt>
          <cx:pt idx="785">10.374182180489145</cx:pt>
          <cx:pt idx="786">10.228044936634101</cx:pt>
          <cx:pt idx="787">10.046879363575368</cx:pt>
          <cx:pt idx="788">10.100676012722046</cx:pt>
          <cx:pt idx="789">9.9766393807400569</cx:pt>
          <cx:pt idx="790">9.6914772446101161</cx:pt>
          <cx:pt idx="791">9.9822422977166099</cx:pt>
          <cx:pt idx="792">10.465817375309648</cx:pt>
          <cx:pt idx="793">11.054994492346273</cx:pt>
          <cx:pt idx="794">11.394112797915112</cx:pt>
          <cx:pt idx="795">11.253099931330748</cx:pt>
          <cx:pt idx="796">11.797940407099128</cx:pt>
          <cx:pt idx="797">11.769104806950667</cx:pt>
          <cx:pt idx="798">11.952504573996109</cx:pt>
          <cx:pt idx="799">11.881312696745654</cx:pt>
          <cx:pt idx="800">12.024884592475953</cx:pt>
          <cx:pt idx="801">12.158275203086108</cx:pt>
          <cx:pt idx="802">12.233217602218389</cx:pt>
          <cx:pt idx="803">12.675265898252306</cx:pt>
          <cx:pt idx="804">12.81069781450736</cx:pt>
          <cx:pt idx="805">12.907029009398808</cx:pt>
          <cx:pt idx="806">12.632097706759488</cx:pt>
          <cx:pt idx="807">12.664063116695839</cx:pt>
          <cx:pt idx="808">12.59305150615049</cx:pt>
          <cx:pt idx="809">12.230404559904169</cx:pt>
          <cx:pt idx="810">11.970483412054818</cx:pt>
          <cx:pt idx="811">11.982065451044669</cx:pt>
          <cx:pt idx="812">12.180718060653005</cx:pt>
          <cx:pt idx="813">12.306393128287304</cx:pt>
          <cx:pt idx="814">12.516226027780684</cx:pt>
          <cx:pt idx="815">12.215889529184818</cx:pt>
          <cx:pt idx="816">11.963115356472077</cx:pt>
          <cx:pt idx="817">12.255610959882823</cx:pt>
          <cx:pt idx="818">12.428115887620656</cx:pt>
          <cx:pt idx="819">12.428115887620658</cx:pt>
          <cx:pt idx="820">12.745903832844849</cx:pt>
          <cx:pt idx="821">12.802469519840757</cx:pt>
          <cx:pt idx="822">12.469575878138164</cx:pt>
          <cx:pt idx="823">12.112643354456452</cx:pt>
          <cx:pt idx="824">11.859481937587198</cx:pt>
          <cx:pt idx="825">11.553056663912365</cx:pt>
          <cx:pt idx="826">12.196597445489125</cx:pt>
          <cx:pt idx="827">11.800492061911052</cx:pt>
          <cx:pt idx="828">12.206819881234555</cx:pt>
          <cx:pt idx="829">12.275598664857254</cx:pt>
          <cx:pt idx="830">12.275598664857254</cx:pt>
          <cx:pt idx="831">12.309887624724011</cx:pt>
          <cx:pt idx="832">11.986641309911343</cx:pt>
          <cx:pt idx="833">12.1764800606196</cx:pt>
          <cx:pt idx="834">12.45456257892095</cx:pt>
          <cx:pt idx="835">12.45456257892095</cx:pt>
          <cx:pt idx="836">12.260260131605024</cx:pt>
          <cx:pt idx="837">12.414351736287243</cx:pt>
          <cx:pt idx="838">12.558336990102999</cx:pt>
          <cx:pt idx="839">12.59356381102528</cx:pt>
          <cx:pt idx="840">12.564157931040546</cx:pt>
          <cx:pt idx="841">12.844479170495408</cx:pt>
          <cx:pt idx="842">13.295807407737824</cx:pt>
          <cx:pt idx="843">13.41608727794592</cx:pt>
          <cx:pt idx="844">13.329650028881971</cx:pt>
          <cx:pt idx="845">13.104132156304455</cx:pt>
          <cx:pt idx="846">13.114795059869047</cx:pt>
          <cx:pt idx="847">13.014714583844116</cx:pt>
          <cx:pt idx="848">12.560648568968018</cx:pt>
          <cx:pt idx="849">12.288030717927557</cx:pt>
          <cx:pt idx="850">12.656164293483865</cx:pt>
          <cx:pt idx="851">12.317222840178855</cx:pt>
          <cx:pt idx="852">12.223984884300737</cx:pt>
          <cx:pt idx="853">12.303072437316196</cx:pt>
          <cx:pt idx="854">12.286543036385224</cx:pt>
          <cx:pt idx="855">11.937921866666059</cx:pt>
          <cx:pt idx="856">12.183983846246324</cx:pt>
          <cx:pt idx="857">11.659598473324017</cx:pt>
          <cx:pt idx="858">11.57277115724944</cx:pt>
          <cx:pt idx="859">11.528179593118022</cx:pt>
          <cx:pt idx="860">11.232537223313274</cx:pt>
          <cx:pt idx="861">11.600797154663811</cx:pt>
          <cx:pt idx="862">11.21883976137452</cx:pt>
          <cx:pt idx="863">11.22612161218704</cx:pt>
          <cx:pt idx="864">10.962889502159509</cx:pt>
          <cx:pt idx="865">10.655807644619895</cx:pt>
          <cx:pt idx="866">10.620633194982563</cx:pt>
          <cx:pt idx="867">10.636011055973741</cx:pt>
          <cx:pt idx="868">10.445248958567317</cx:pt>
          <cx:pt idx="869">10.11259195899015</cx:pt>
          <cx:pt idx="870">10.161597537598555</cx:pt>
          <cx:pt idx="871">10.386509032994347</cx:pt>
          <cx:pt idx="872">10.428765017246588</cx:pt>
          <cx:pt idx="873">10.029526302346605</cx:pt>
          <cx:pt idx="874">10.240022681426492</cx:pt>
          <cx:pt idx="875">10.507754433074959</cx:pt>
          <cx:pt idx="876">10.754343958535761</cx:pt>
          <cx:pt idx="877">10.719091600092929</cx:pt>
          <cx:pt idx="878">11.112136153434816</cx:pt>
          <cx:pt idx="879">11.122195188291366</cx:pt>
          <cx:pt idx="880">11.532562594670797</cx:pt>
          <cx:pt idx="881">11.191874933009618</cx:pt>
          <cx:pt idx="882">11.338866454505858</cx:pt>
          <cx:pt idx="883">11.298110984937127</cx:pt>
          <cx:pt idx="884">11.211744993820171</cx:pt>
          <cx:pt idx="885">11.209443023773565</cx:pt>
          <cx:pt idx="886">11.221523098276871</cx:pt>
          <cx:pt idx="887">10.863077446695444</cx:pt>
          <cx:pt idx="888">11.65249523326615</cx:pt>
          <cx:pt idx="889">11.63956914548271</cx:pt>
          <cx:pt idx="890">11.462327260925644</cx:pt>
          <cx:pt idx="891">11.52631398056181</cx:pt>
          <cx:pt idx="892">11.256730364303111</cx:pt>
          <cx:pt idx="893">11.229569261839549</cx:pt>
          <cx:pt idx="894">11.068117536711092</cx:pt>
          <cx:pt idx="895">11.285827061988781</cx:pt>
          <cx:pt idx="896">11.31570418888381</cx:pt>
          <cx:pt idx="897">11.035524260266239</cx:pt>
          <cx:pt idx="898">10.951015075452855</cx:pt>
          <cx:pt idx="899">10.911274626664595</cx:pt>
          <cx:pt idx="900">11.218264677105429</cx:pt>
          <cx:pt idx="901">11.265705882556052</cx:pt>
          <cx:pt idx="902">11.497825881443848</cx:pt>
          <cx:pt idx="903">11.299252996529015</cx:pt>
          <cx:pt idx="904">11.124708525842205</cx:pt>
          <cx:pt idx="905">10.967792536252663</cx:pt>
          <cx:pt idx="906">10.615063348490819</cx:pt>
          <cx:pt idx="907">10.4043001862495</cx:pt>
          <cx:pt idx="908">10.315037566582102</cx:pt>
          <cx:pt idx="909">9.9359237439284573</cx:pt>
          <cx:pt idx="910">9.9147983240432893</cx:pt>
          <cx:pt idx="911">9.45936413785161</cx:pt>
          <cx:pt idx="912">9.5874021283084012</cx:pt>
          <cx:pt idx="913">9.96466876799796</cx:pt>
          <cx:pt idx="914">10.477523305803519</cx:pt>
          <cx:pt idx="915">10.657623855088861</cx:pt>
          <cx:pt idx="916">10.7041344640123</cx:pt>
          <cx:pt idx="917">10.85079651206475</cx:pt>
          <cx:pt idx="918">11.525474356389198</cx:pt>
          <cx:pt idx="919">10.775619633906148</cx:pt>
          <cx:pt idx="920">10.862384537911662</cx:pt>
          <cx:pt idx="921">10.752944082976203</cx:pt>
          <cx:pt idx="922">10.805613833678336</cx:pt>
          <cx:pt idx="923">10.834234867367901</cx:pt>
          <cx:pt idx="924">11.171969532083699</cx:pt>
          <cx:pt idx="925">11.929902792779215</cx:pt>
          <cx:pt idx="926">11.365766369290297</cx:pt>
          <cx:pt idx="927">11.886108273630741</cx:pt>
          <cx:pt idx="928">11.979821744594451</cx:pt>
          <cx:pt idx="929">11.940713762639581</cx:pt>
          <cx:pt idx="930">12.027388100337042</cx:pt>
          <cx:pt idx="931">12.032036090085432</cx:pt>
          <cx:pt idx="932">12.232426499452842</cx:pt>
          <cx:pt idx="933">11.848143087575197</cx:pt>
          <cx:pt idx="934">11.73983202239191</cx:pt>
          <cx:pt idx="935">11.906174416970041</cx:pt>
          <cx:pt idx="936">11.43800493920366</cx:pt>
          <cx:pt idx="937">11.465047397545158</cx:pt>
          <cx:pt idx="938">11.726543734493521</cx:pt>
          <cx:pt idx="939">11.60200205192635</cx:pt>
          <cx:pt idx="940">11.977398069536182</cx:pt>
          <cx:pt idx="941">12.432095127021503</cx:pt>
          <cx:pt idx="942">12.558336990103001</cx:pt>
          <cx:pt idx="943">12.572713242557068</cx:pt>
          <cx:pt idx="944">12.38504127210838</cx:pt>
          <cx:pt idx="945">12.248502212581458</cx:pt>
          <cx:pt idx="946">12.216593686061701</cx:pt>
          <cx:pt idx="947">12.287505674420856</cx:pt>
          <cx:pt idx="948">11.965991235019317</cx:pt>
          <cx:pt idx="949">11.755209323383363</cx:pt>
          <cx:pt idx="950">11.799307433658067</cx:pt>
          <cx:pt idx="951">11.56589350085493</cx:pt>
          <cx:pt idx="952">11.058495493540031</cx:pt>
          <cx:pt idx="953">11.106715976603805</cx:pt>
          <cx:pt idx="954">11.16147367616194</cx:pt>
          <cx:pt idx="955">10.48101201713011</cx:pt>
          <cx:pt idx="956">10.436082979594849</cx:pt>
          <cx:pt idx="957">10.563275803410832</cx:pt>
          <cx:pt idx="958">11.108555261599053</cx:pt>
          <cx:pt idx="959">11.124805181331519</cx:pt>
          <cx:pt idx="960">11.137652886849949</cx:pt>
          <cx:pt idx="961">11.183897795155012</cx:pt>
          <cx:pt idx="962">11.097611871358263</cx:pt>
          <cx:pt idx="963">11.156752138484118</cx:pt>
          <cx:pt idx="964">11.211169545620349</cx:pt>
          <cx:pt idx="965">11.611451522166078</cx:pt>
          <cx:pt idx="966">11.252239920380582</cx:pt>
          <cx:pt idx="967">11.263414940817558</cx:pt>
          <cx:pt idx="968">11.130989386895614</cx:pt>
          <cx:pt idx="969">10.439585539501037</cx:pt>
          <cx:pt idx="970">10.581379465733637</cx:pt>
          <cx:pt idx="971">10.205838514543833</cx:pt>
          <cx:pt idx="972">10.085228205498833</cx:pt>
          <cx:pt idx="973">10.118544669889991</cx:pt>
          <cx:pt idx="974">10.459239882741539</cx:pt>
          <cx:pt idx="975">10.893324383723833</cx:pt>
          <cx:pt idx="976">10.863077446695444</cx:pt>
          <cx:pt idx="977">10.468488301174528</cx:pt>
          <cx:pt idx="978">10.5023294906979</cx:pt>
          <cx:pt idx="979">10.539939401184675</cx:pt>
          <cx:pt idx="980">10.322748654546725</cx:pt>
          <cx:pt idx="981">10.066339096002025</cx:pt>
          <cx:pt idx="982">10.41906854029245</cx:pt>
          <cx:pt idx="983">10.54646656417434</cx:pt>
          <cx:pt idx="984">10.528609257790215</cx:pt>
          <cx:pt idx="985">10.685534388194645</cx:pt>
          <cx:pt idx="986">10.497926062461254</cx:pt>
          <cx:pt idx="987">10.448028059044475</cx:pt>
          <cx:pt idx="988">10.647933819462628</cx:pt>
          <cx:pt idx="989">10.100676012722044</cx:pt>
          <cx:pt idx="990">10.412771314669929</cx:pt>
          <cx:pt idx="991">10.833341604628769</cx:pt>
          <cx:pt idx="992">11.232154304610519</cx:pt>
          <cx:pt idx="993">11.526034112633514</cx:pt>
          <cx:pt idx="994">11.2355044007728</cx:pt>
          <cx:pt idx="995">11.221810560603156</cx:pt>
          <cx:pt idx="996">11.132534901509779</cx:pt>
          <cx:pt idx="997">11.540857760559325</cx:pt>
          <cx:pt idx="998">11.578066026034996</cx:pt>
          <cx:pt idx="999">11.702954318672967</cx:pt>
          <cx:pt idx="1000">11.878506839295198</cx:pt>
          <cx:pt idx="1001">11.916375287812984</cx:pt>
          <cx:pt idx="1002">12.162342728486207</cx:pt>
          <cx:pt idx="1003">12.115661241212878</cx:pt>
          <cx:pt idx="1004">11.927829571199025</cx:pt>
          <cx:pt idx="1005">11.519221897258491</cx:pt>
          <cx:pt idx="1006">11.496984176786986</cx:pt>
          <cx:pt idx="1007">11.609043564097703</cx:pt>
          <cx:pt idx="1008">11.613488635184945</cx:pt>
          <cx:pt idx="1009">11.665775695625438</cx:pt>
          <cx:pt idx="1010">12.286980608478158</cx:pt>
          <cx:pt idx="1011">12.911693458140544</cx:pt>
          <cx:pt idx="1012">14.551281213220935</cx:pt>
          <cx:pt idx="1013">15.132035376103769</cx:pt>
          <cx:pt idx="1014">16.278820596099706</cx:pt>
          <cx:pt idx="1015">16.698271110043581</cx:pt>
          <cx:pt idx="1016">17.650185048833471</cx:pt>
          <cx:pt idx="1017">18.349123210133101</cx:pt>
          <cx:pt idx="1018">18.651818211119398</cx:pt>
          <cx:pt idx="1019">18.989810510529232</cx:pt>
          <cx:pt idx="1020">19.131969529155018</cx:pt>
          <cx:pt idx="1021">19.369691433695042</cx:pt>
          <cx:pt idx="1022">19.887911711843067</cx:pt>
          <cx:pt idx="1023">20.018969498576752</cx:pt>
          <cx:pt idx="1024">19.529079503052856</cx:pt>
          <cx:pt idx="1025">19.709175855505119</cx:pt>
          <cx:pt idx="1026">19.603927629294688</cx:pt>
          <cx:pt idx="1027">18.990773084990284</cx:pt>
          <cx:pt idx="1028">19.090784806186701</cx:pt>
          <cx:pt idx="1029">18.911167548951497</cx:pt>
          <cx:pt idx="1030">18.918728275703216</cx:pt>
          <cx:pt idx="1031">18.992471626795275</cx:pt>
          <cx:pt idx="1032">18.130470994836944</cx:pt>
          <cx:pt idx="1033">16.958646730347652</cx:pt>
          <cx:pt idx="1034">15.45071943900334</cx:pt>
          <cx:pt idx="1035">14.800610275124772</cx:pt>
          <cx:pt idx="1036">13.894533619957489</cx:pt>
          <cx:pt idx="1037">11.45416297519664</cx:pt>
          <cx:pt idx="1038">11.178608604051785</cx:pt>
          <cx:pt idx="1039">9.3287623215308102</cx:pt>
          <cx:pt idx="1040">5.3779717966126661</cx:pt>
          <cx:pt idx="1041">5.2159804076418101</cx:pt>
          <cx:pt idx="1042">5.0278792639116867</cx:pt>
          <cx:pt idx="1043">5.3038837464351465</cx:pt>
          <cx:pt idx="1044">5.3127964812905155</cx:pt>
          <cx:pt idx="1045">5.3127964812905155</cx:pt>
          <cx:pt idx="1046">5.2927217219315859</cx:pt>
          <cx:pt idx="1047">5.256025727830191</cx:pt>
          <cx:pt idx="1048">5.3227044625546256</cx:pt>
          <cx:pt idx="1049">5.1047100325218313</cx:pt>
          <cx:pt idx="1050">5.123632783799577</cx:pt>
          <cx:pt idx="1051">5.06283103258603</cx:pt>
          <cx:pt idx="1052">5.0577312266756849</cx:pt>
          <cx:pt idx="1053">5.2316242671964011</cx:pt>
          <cx:pt idx="1054">5.1341152874615332</cx:pt>
          <cx:pt idx="1055">9.766521706142834</cx:pt>
          <cx:pt idx="1056">12.601416544370366</cx:pt>
          <cx:pt idx="1057">15.351858841601986</cx:pt>
          <cx:pt idx="1058">17.542268462080351</cx:pt>
          <cx:pt idx="1059">18.441596273595177</cx:pt>
          <cx:pt idx="1060">18.535348385853077</cx:pt>
          <cx:pt idx="1061">20.100981626915424</cx:pt>
          <cx:pt idx="1062">21.097469654118512</cx:pt>
          <cx:pt idx="1063">21.031313060107731</cx:pt>
          <cx:pt idx="1064">21.757065346069041</cx:pt>
          <cx:pt idx="1065">22.737539421070334</cx:pt>
          <cx:pt idx="1066">23.498753112653926</cx:pt>
          <cx:pt idx="1067">23.90217518333062</cx:pt>
          <cx:pt idx="1068">23.83933678806158</cx:pt>
          <cx:pt idx="1069">23.637131350792679</cx:pt>
          <cx:pt idx="1070">23.792743088091193</cx:pt>
          <cx:pt idx="1071">23.688752378445621</cx:pt>
          <cx:pt idx="1072">23.522306960227855</cx:pt>
          <cx:pt idx="1073">23.335191938265709</cx:pt>
          <cx:pt idx="1074">23.217948192714438</cx:pt>
          <cx:pt idx="1075">22.973804624500648</cx:pt>
          <cx:pt idx="1076">22.09427503330474</cx:pt>
          <cx:pt idx="1077">21.656308524878551</cx:pt>
          <cx:pt idx="1078">20.859643601528667</cx:pt>
          <cx:pt idx="1079">19.823142769180468</cx:pt>
          <cx:pt idx="1080">19.039912803631548</cx:pt>
          <cx:pt idx="1081">17.995758162076889</cx:pt>
          <cx:pt idx="1082">16.622112490773066</cx:pt>
          <cx:pt idx="1083">15.138074194645123</cx:pt>
          <cx:pt idx="1084">13.435949210338498</cx:pt>
          <cx:pt idx="1085">11.34540786265053</cx:pt>
          <cx:pt idx="1086">11.220660667110987</cx:pt>
          <cx:pt idx="1087">11.127801085086276</cx:pt>
          <cx:pt idx="1088">11.242010305053306</cx:pt>
          <cx:pt idx="1089">11.153281979970345</cx:pt>
          <cx:pt idx="1090">11.291256489792424</cx:pt>
          <cx:pt idx="1091">11.578251766933324</cx:pt>
          <cx:pt idx="1092">11.373048692375312</cx:pt>
          <cx:pt idx="1093">11.897049421862405</cx:pt>
          <cx:pt idx="1094">11.73800004946713</cx:pt>
          <cx:pt idx="1095">11.629772693532139</cx:pt>
          <cx:pt idx="1096">11.223247761792512</cx:pt>
          <cx:pt idx="1097">11.082098322330769</cx:pt>
          <cx:pt idx="1098">11.04516631494208</cx:pt>
          <cx:pt idx="1099">11.479575129824724</cx:pt>
          <cx:pt idx="1100">11.479575129824724</cx:pt>
          <cx:pt idx="1101">11.198502203995998</cx:pt>
          <cx:pt idx="1102">11.520901995750979</cx:pt>
          <cx:pt idx="1103">11.417586887016917</cx:pt>
          <cx:pt idx="1104">10.96269333518412</cx:pt>
          <cx:pt idx="1105">10.975730803307208</cx:pt>
          <cx:pt idx="1106">11.260455117905561</cx:pt>
          <cx:pt idx="1107">11.173028199185078</cx:pt>
          <cx:pt idx="1108">11.391470115742283</cx:pt>
          <cx:pt idx="1109">11.324727915742232</cx:pt>
          <cx:pt idx="1110">11.716636458150996</cx:pt>
          <cx:pt idx="1111">11.755758140688569</cx:pt>
          <cx:pt idx="1112">11.814607324687483</cx:pt>
          <cx:pt idx="1113">11.850048772641339</cx:pt>
          <cx:pt idx="1114">11.794020719465554</cx:pt>
          <cx:pt idx="1115">11.381554592683575</cx:pt>
          <cx:pt idx="1116">11.900121983652372</cx:pt>
          <cx:pt idx="1117">11.915472908099618</cx:pt>
          <cx:pt idx="1118">11.876424645725303</cx:pt>
          <cx:pt idx="1119">11.493148964417001</cx:pt>
          <cx:pt idx="1120">11.536011871200254</cx:pt>
          <cx:pt idx="1121">12.122138283287308</cx:pt>
          <cx:pt idx="1122">11.859481937587198</cx:pt>
          <cx:pt idx="1123">11.741480553635384</cx:pt>
          <cx:pt idx="1124">10.914624696161775</cx:pt>
          <cx:pt idx="1125">10.942174500331225</cx:pt>
          <cx:pt idx="1126">10.966910151887353</cx:pt>
          <cx:pt idx="1127">11.136687409261917</cx:pt>
          <cx:pt idx="1128">11.528366137768682</cx:pt>
          <cx:pt idx="1129">11.325487480310359</cx:pt>
          <cx:pt idx="1130">10.829271364204052</cx:pt>
          <cx:pt idx="1131">11.01748366173325</cx:pt>
          <cx:pt idx="1132">11.082098322330769</cx:pt>
          <cx:pt idx="1133">11.351282434299033</cx:pt>
          <cx:pt idx="1134">11.851772699855166</cx:pt>
          <cx:pt idx="1135">11.94620558826062</cx:pt>
          <cx:pt idx="1136">12.260874041358736</cx:pt>
          <cx:pt idx="1137">12.174272184644403</cx:pt>
          <cx:pt idx="1138">12.230668310105871</cx:pt>
          <cx:pt idx="1139">12.183101287818603</cx:pt>
          <cx:pt idx="1140">12.592112226413034</cx:pt>
          <cx:pt idx="1141">12.650385688369985</cx:pt>
          <cx:pt idx="1142">12.490512528547676</cx:pt>
          <cx:pt idx="1143">12.511242256294892</cx:pt>
          <cx:pt idx="1144">12.537170540488404</cx:pt>
          <cx:pt idx="1145">12.632863781099992</cx:pt>
          <cx:pt idx="1146">12.632863781099994</cx:pt>
          <cx:pt idx="1147">12.211839839191493</cx:pt>
          <cx:pt idx="1148">12.20206222655192</cx:pt>
          <cx:pt idx="1149">12.53974327051087</cx:pt>
          <cx:pt idx="1150">12.836104993254359</cx:pt>
          <cx:pt idx="1151">12.71465161109017</cx:pt>
          <cx:pt idx="1152">12.50178481881343</cx:pt>
          <cx:pt idx="1153">12.409327050628587</cx:pt>
          <cx:pt idx="1154">12.331444202891738</cx:pt>
          <cx:pt idx="1155">12.30770368072262</cx:pt>
          <cx:pt idx="1156">12.433132980022561</cx:pt>
          <cx:pt idx="1157">12.47509346615276</cx:pt>
          <cx:pt idx="1158">12.326647417653342</cx:pt>
          <cx:pt idx="1159">12.0013440107563</cx:pt>
          <cx:pt idx="1160">12.013164821655369</cx:pt>
          <cx:pt idx="1161">12.187336985400005</cx:pt>
          <cx:pt idx="1162">11.854584885001199</cx:pt>
          <cx:pt idx="1163">12.339550888465601</cx:pt>
          <cx:pt idx="1164">12.693491686009635</cx:pt>
          <cx:pt idx="1165">12.394067259209402</cx:pt>
          <cx:pt idx="1166">12.749868226179681</cx:pt>
          <cx:pt idx="1167">12.367143427612527</cx:pt>
          <cx:pt idx="1168">12.322721386349341</cx:pt>
          <cx:pt idx="1169">12.17524369940023</cx:pt>
          <cx:pt idx="1170">12.727584132484155</cx:pt>
          <cx:pt idx="1171">12.473283276624672</cx:pt>
          <cx:pt idx="1172">12.063630581035666</cx:pt>
          <cx:pt idx="1173">12.023274919294918</cx:pt>
          <cx:pt idx="1174">12.112554581698431</cx:pt>
          <cx:pt idx="1175">11.958170824267629</cx:pt>
          <cx:pt idx="1176">11.890540199526644</cx:pt>
          <cx:pt idx="1177">12.039897831167266</cx:pt>
          <cx:pt idx="1178">12.407247275130635</cx:pt>
          <cx:pt idx="1179">12.828815012449745</cx:pt>
          <cx:pt idx="1180">12.583057392117917</cx:pt>
          <cx:pt idx="1181">12.622986371942122</cx:pt>
          <cx:pt idx="1182">12.823114210850504</cx:pt>
          <cx:pt idx="1183">12.823114210850504</cx:pt>
          <cx:pt idx="1184">12.837277706925686</cx:pt>
          <cx:pt idx="1185">13.1900907738975</cx:pt>
          <cx:pt idx="1186">13.613560601770008</cx:pt>
          <cx:pt idx="1187">13.554192304680427</cx:pt>
          <cx:pt idx="1188">13.63676245751097</cx:pt>
          <cx:pt idx="1189">13.821908742656442</cx:pt>
          <cx:pt idx="1190">13.786076816066803</cx:pt>
          <cx:pt idx="1191">13.813504378896996</cx:pt>
          <cx:pt idx="1192">13.693731396879834</cx:pt>
          <cx:pt idx="1193">13.669210358610954</cx:pt>
          <cx:pt idx="1194">13.554192304680425</cx:pt>
          <cx:pt idx="1195">13.131919578947967</cx:pt>
          <cx:pt idx="1196">13.260337821480453</cx:pt>
          <cx:pt idx="1197">13.054805896268521</cx:pt>
          <cx:pt idx="1198">13.41071630555046</cx:pt>
          <cx:pt idx="1199">13.412319806082959</cx:pt>
          <cx:pt idx="1200">13.661105608683833</cx:pt>
          <cx:pt idx="1201">13.611743822614098</cx:pt>
          <cx:pt idx="1202">13.710917085003029</cx:pt>
          <cx:pt idx="1203">14.331032573532724</cx:pt>
          <cx:pt idx="1204">14.663318288361829</cx:pt>
          <cx:pt idx="1205">15.02836028657903</cx:pt>
          <cx:pt idx="1206">16.183424415322353</cx:pt>
          <cx:pt idx="1207">17.24528921183985</cx:pt>
          <cx:pt idx="1208">17.310323851042099</cx:pt>
          <cx:pt idx="1209">17.594965066715101</cx:pt>
          <cx:pt idx="1210">17.635984718445616</cx:pt>
          <cx:pt idx="1211">17.9832060246423</cx:pt>
          <cx:pt idx="1212">18.370031696111166</cx:pt>
          <cx:pt idx="1213">17.756658602653339</cx:pt>
          <cx:pt idx="1214">16.962260449889705</cx:pt>
          <cx:pt idx="1215">17.536199119817628</cx:pt>
          <cx:pt idx="1216">16.929137571794119</cx:pt>
          <cx:pt idx="1217">17.152635460062875</cx:pt>
          <cx:pt idx="1218">17.470897460191221</cx:pt>
          <cx:pt idx="1219">17.54312658343947</cx:pt>
          <cx:pt idx="1220">16.990129962099534</cx:pt>
          <cx:pt idx="1221">17.005818106235456</cx:pt>
          <cx:pt idx="1222">16.889329837669443</cx:pt>
          <cx:pt idx="1223">16.87181272170033</cx:pt>
          <cx:pt idx="1224">16.903330460153743</cx:pt>
          <cx:pt idx="1225">15.926646367522855</cx:pt>
          <cx:pt idx="1226">15.53871336061084</cx:pt>
          <cx:pt idx="1227">15.49880328366698</cx:pt>
          <cx:pt idx="1228">15.559321100815406</cx:pt>
          <cx:pt idx="1229">13.582721471805462</cx:pt>
          <cx:pt idx="1230">12.771187329549731</cx:pt>
          <cx:pt idx="1231">12.683322382824883</cx:pt>
          <cx:pt idx="1232">9.3802583819331975</cx:pt>
          <cx:pt idx="1233">6.3186019959161612</cx:pt>
          <cx:pt idx="1234">6.2539449915224896</cx:pt>
          <cx:pt idx="1235">6.2187714445515603</cx:pt>
          <cx:pt idx="1236">6.2491289715628202</cx:pt>
          <cx:pt idx="1237">6.1287266477287643</cx:pt>
          <cx:pt idx="1238">5.9068030761694743</cx:pt>
          <cx:pt idx="1239">5.8807138766415701</cx:pt>
          <cx:pt idx="1240">5.9011571673679812</cx:pt>
          <cx:pt idx="1241">5.846605485144754</cx:pt>
          <cx:pt idx="1242">6.0098485479995647</cx:pt>
          <cx:pt idx="1243">6.2470638264398168</cx:pt>
          <cx:pt idx="1244">6.1865271582342451</cx:pt>
          <cx:pt idx="1245">6.1141471767471165</cx:pt>
          <cx:pt idx="1246">6.1896549142088055</cx:pt>
          <cx:pt idx="1247">6.5304909331502019</cx:pt>
          <cx:pt idx="1248">9.6018591389757013</cx:pt>
          <cx:pt idx="1249">9.9665030374599759</cx:pt>
          <cx:pt idx="1250">10.277337004982298</cx:pt>
          <cx:pt idx="1251">10.339401617426978</cx:pt>
          <cx:pt idx="1252">12.969691716683416</cx:pt>
          <cx:pt idx="1253">14.609100124635088</cx:pt>
          <cx:pt idx="1254">14.712075356329661</cx:pt>
          <cx:pt idx="1255">14.578449258947225</cx:pt>
          <cx:pt idx="1256">15.923135261597817</cx:pt>
          <cx:pt idx="1257">16.186347625772946</cx:pt>
          <cx:pt idx="1258">17.413688843544463</cx:pt>
          <cx:pt idx="1259">17.375115068853901</cx:pt>
          <cx:pt idx="1260">17.303986736854817</cx:pt>
          <cx:pt idx="1261">16.988104630144331</cx:pt>
          <cx:pt idx="1262">16.925326190849812</cx:pt>
          <cx:pt idx="1263">16.790614377764609</cx:pt>
          <cx:pt idx="1264">17.065402338920908</cx:pt>
          <cx:pt idx="1265">16.950592339064769</cx:pt>
          <cx:pt idx="1266">16.453061289816301</cx:pt>
          <cx:pt idx="1267">16.181962612071956</cx:pt>
          <cx:pt idx="1268">15.91665118504004</cx:pt>
          <cx:pt idx="1269">15.825595166235974</cx:pt>
          <cx:pt idx="1270">15.33931627080927</cx:pt>
          <cx:pt idx="1271">14.86237943872532</cx:pt>
          <cx:pt idx="1272">14.773559642690355</cx:pt>
          <cx:pt idx="1273">13.925299942716626</cx:pt>
          <cx:pt idx="1274">13.175408830448578</cx:pt>
          <cx:pt idx="1275">12.572371141874243</cx:pt>
          <cx:pt idx="1276">11.385332953041509</cx:pt>
          <cx:pt idx="1277">10.903190812439867</cx:pt>
          <cx:pt idx="1278">11.257207965690059</cx:pt>
          <cx:pt idx="1279">11.509976971848081</cx:pt>
          <cx:pt idx="1280">11.342374635216006</cx:pt>
          <cx:pt idx="1281">11.600982531618808</cx:pt>
          <cx:pt idx="1282">11.553056663912365</cx:pt>
          <cx:pt idx="1283">11.368036684692573</cx:pt>
          <cx:pt idx="1284">11.551288156067969</cx:pt>
          <cx:pt idx="1285">11.354786778962382</cx:pt>
          <cx:pt idx="1286">11.04467954431269</cx:pt>
          <cx:pt idx="1287">10.905163026986864</cx:pt>
          <cx:pt idx="1288">11.168215267358725</cx:pt>
          <cx:pt idx="1289">11.485474697732702</cx:pt>
          <cx:pt idx="1290">11.532376117900908</cx:pt>
          <cx:pt idx="1291">11.522021925309456</cx:pt>
          <cx:pt idx="1292">11.342279833788135</cx:pt>
          <cx:pt idx="1293">11.410332989213382</cx:pt>
          <cx:pt idx="1294">11.492026221109429</cx:pt>
          <cx:pt idx="1295">11.629125467539893</cx:pt>
          <cx:pt idx="1296">11.106715976603805</cx:pt>
          <cx:pt idx="1297">11.05042207144095</cx:pt>
          <cx:pt idx="1298">11.592915893972972</cx:pt>
          <cx:pt idx="1299">11.539366934425468</cx:pt>
          <cx:pt idx="1300">11.543373093060426</cx:pt>
          <cx:pt idx="1301">11.617654344708241</cx:pt>
          <cx:pt idx="1302">11.934318455163131</cx:pt>
          <cx:pt idx="1303">12.047665191195337</cx:pt>
          <cx:pt idx="1304">12.557480741798697</cx:pt>
          <cx:pt idx="1305">12.538971506930418</cx:pt>
          <cx:pt idx="1306">12.706530367432906</cx:pt>
          <cx:pt idx="1307">12.683152825358446</cx:pt>
          <cx:pt idx="1308">12.937484091725713</cx:pt>
          <cx:pt idx="1309">12.85259690925643</cx:pt>
          <cx:pt idx="1310">12.825461906624634</cx:pt>
          <cx:pt idx="1311">12.957581747038402</cx:pt>
          <cx:pt idx="1312">12.652765433622783</cx:pt>
          <cx:pt idx="1313">12.432181618080804</cx:pt>
          <cx:pt idx="1314">12.271305808126499</cx:pt>
          <cx:pt idx="1315">12.165171509249772</cx:pt>
          <cx:pt idx="1316">12.060777984499916</cx:pt>
          <cx:pt idx="1317">12.037396925049155</cx:pt>
          <cx:pt idx="1318">12.378441196354769</cx:pt>
          <cx:pt idx="1319">12.248765573090054</cx:pt>
          <cx:pt idx="1320">11.910689154244276</cx:pt>
          <cx:pt idx="1321">11.733143937865361</cx:pt>
          <cx:pt idx="1322">12.128966483463843</cx:pt>
          <cx:pt idx="1323">12.581519131484637</cx:pt>
          <cx:pt idx="1324">12.731638686984246</cx:pt>
          <cx:pt idx="1325">12.552513349837533</cx:pt>
          <cx:pt idx="1326">12.827054741184094</cx:pt>
          <cx:pt idx="1327">13.145014182170453</cx:pt>
          <cx:pt idx="1328">13.074147518417151</cx:pt>
          <cx:pt idx="1329">12.757203320443699</cx:pt>
          <cx:pt idx="1330">12.709491838610186</cx:pt>
          <cx:pt idx="1331">12.730794094618368</cx:pt>
          <cx:pt idx="1332">12.617107348733398</cx:pt>
          <cx:pt idx="1333">12.659222487123555</cx:pt>
          <cx:pt idx="1334">12.603890848310652</cx:pt>
          <cx:pt idx="1335">12.162607954631463</cx:pt>
          <cx:pt idx="1336">11.977308294374602</cx:pt>
          <cx:pt idx="1337">12.376529991223546</cx:pt>
          <cx:pt idx="1338">12.495590620144233</cx:pt>
          <cx:pt idx="1339">12.662789446213649</cx:pt>
          <cx:pt idx="1340">12.621112198149557</cx:pt>
          <cx:pt idx="1341">12.685356895645169</cx:pt>
          <cx:pt idx="1342">12.98559996502329</cx:pt>
          <cx:pt idx="1343">12.973173312896565</cx:pt>
          <cx:pt idx="1344">12.940060327924387</cx:pt>
          <cx:pt idx="1345">13.025863437007539</cx:pt>
          <cx:pt idx="1346">13.118320112752439</cx:pt>
          <cx:pt idx="1347">13.102080603058134</cx:pt>
          <cx:pt idx="1348">13.45578182478183</cx:pt>
          <cx:pt idx="1349">13.136995286643378</cx:pt>
          <cx:pt idx="1350">13.395714288171519</cx:pt>
          <cx:pt idx="1351">13.269254624113966</cx:pt>
          <cx:pt idx="1352">13.562123093221761</cx:pt>
          <cx:pt idx="1353">13.462812181262764</cx:pt>
          <cx:pt idx="1354">13.091243071660166</cx:pt>
          <cx:pt idx="1355">12.814306520951618</cx:pt>
          <cx:pt idx="1356">12.835937453983666</cx:pt>
          <cx:pt idx="1357">12.596807924727324</cx:pt>
          <cx:pt idx="1358">12.490512528547676</cx:pt>
          <cx:pt idx="1359">12.46086346444619</cx:pt>
          <cx:pt idx="1360">12.590660474446752</cx:pt>
          <cx:pt idx="1361">12.340683656843311</cx:pt>
          <cx:pt idx="1362">12.722683155162935</cx:pt>
          <cx:pt idx="1363">12.722514122271505</cx:pt>
          <cx:pt idx="1364">12.413832035534057</cx:pt>
          <cx:pt idx="1365">12.470696835778364</cx:pt>
          <cx:pt idx="1366">12.583997347715544</cx:pt>
          <cx:pt idx="1367">12.802049567091965</cx:pt>
          <cx:pt idx="1368">12.609093833889411</cx:pt>
          <cx:pt idx="1369">12.477937519124817</cx:pt>
          <cx:pt idx="1370">12.293892180519421</cx:pt>
          <cx:pt idx="1371">12.09389786592387</cx:pt>
          <cx:pt idx="1372">11.906355039330071</cx:pt>
          <cx:pt idx="1373">11.419564423081258</cx:pt>
          <cx:pt idx="1374">11.688796216430813</cx:pt>
          <cx:pt idx="1375">11.688796216430813</cx:pt>
          <cx:pt idx="1376">11.563011104658319</cx:pt>
          <cx:pt idx="1377">10.955628984755412</cx:pt>
          <cx:pt idx="1378">10.856245415249651</cx:pt>
          <cx:pt idx="1379">10.856245415249651</cx:pt>
          <cx:pt idx="1380">10.992079259703912</cx:pt>
          <cx:pt idx="1381">11.447495852382852</cx:pt>
          <cx:pt idx="1382">11.447495852382852</cx:pt>
          <cx:pt idx="1383">11.460638575539313</cx:pt>
          <cx:pt idx="1384">11.17543388780253</cx:pt>
          <cx:pt idx="1385">11.141320938652855</cx:pt>
          <cx:pt idx="1386">11.555197127057648</cx:pt>
          <cx:pt idx="1387">11.566358336195984</cx:pt>
          <cx:pt idx="1388">11.677752029955007</cx:pt>
          <cx:pt idx="1389">11.399396324329627</cx:pt>
          <cx:pt idx="1390">11.365671762973623</cx:pt>
          <cx:pt idx="1391">11.341805814762699</cx:pt>
          <cx:pt idx="1392">11.470391993001735</cx:pt>
          <cx:pt idx="1393">11.168311546321533</cx:pt>
          <cx:pt idx="1394">11.532842304172167</cx:pt>
          <cx:pt idx="1395">11.752281864908536</cx:pt>
          <cx:pt idx="1396">12.022022802260214</cx:pt>
          <cx:pt idx="1397">11.896145576189475</cx:pt>
          <cx:pt idx="1398">11.798122686458688</cx:pt>
          <cx:pt idx="1399">11.539553298225226</cx:pt>
          <cx:pt idx="1400">11.888369666751339</cx:pt>
          <cx:pt idx="1401">11.669830600165502</cx:pt>
          <cx:pt idx="1402">11.590504085079154</cx:pt>
          <cx:pt idx="1403">11.850048772641339</cx:pt>
          <cx:pt idx="1404">12.043558935296367</cx:pt>
          <cx:pt idx="1405">11.983860113744921</cx:pt>
          <cx:pt idx="1406">12.192453156707007</cx:pt>
          <cx:pt idx="1407">12.515968295165637</cx:pt>
          <cx:pt idx="1408">12.490942955356834</cx:pt>
          <cx:pt idx="1409">12.55585370915062</cx:pt>
          <cx:pt idx="1410">12.345997566579159</cx:pt>
          <cx:pt idx="1411">12.479316220584096</cx:pt>
          <cx:pt idx="1412">12.387992799134082</cx:pt>
          <cx:pt idx="1413">12.441691963906324</cx:pt>
          <cx:pt idx="1414">12.25008229070451</cx:pt>
          <cx:pt idx="1415">12.733158812067543</cx:pt>
          <cx:pt idx="1416">12.570831573591818</cx:pt>
          <cx:pt idx="1417">12.244287674060967</cx:pt>
          <cx:pt idx="1418">12.009673520313372</cx:pt>
          <cx:pt idx="1419">12.343471566888331</cx:pt>
          <cx:pt idx="1420">12.075301372048916</cx:pt>
          <cx:pt idx="1421">12.197126402276821</cx:pt>
          <cx:pt idx="1422">12.004121156135621</cx:pt>
          <cx:pt idx="1423">12.35513910749658</cx:pt>
          <cx:pt idx="1424">12.953182861233728</cx:pt>
          <cx:pt idx="1425">12.778678478462238</cx:pt>
          <cx:pt idx="1426">12.528762607421305</cx:pt>
          <cx:pt idx="1427">12.144913533293796</cx:pt>
          <cx:pt idx="1428">12.121606054204754</cx:pt>
          <cx:pt idx="1429">12.205938973981443</cx:pt>
          <cx:pt idx="1430">12.135259211447949</cx:pt>
          <cx:pt idx="1431">11.728835892698365</cx:pt>
          <cx:pt idx="1432">11.71140423891652</cx:pt>
          <cx:pt idx="1433">11.875428684961774</cx:pt>
          <cx:pt idx="1434">11.7699270514179</cx:pt>
          <cx:pt idx="1435">11.510537481728628</cx:pt>
          <cx:pt idx="1436">11.461107679771265</cx:pt>
          <cx:pt idx="1437">11.074624681132855</cx:pt>
          <cx:pt idx="1438">10.575992289294929</cx:pt>
          <cx:pt idx="1439">10.403473365396584</cx:pt>
          <cx:pt idx="1440">10.392097907772579</cx:pt>
          <cx:pt idx="1441">10.638740324818759</cx:pt>
          <cx:pt idx="1442">10.638740324818759</cx:pt>
          <cx:pt idx="1443">10.331078491411189</cx:pt>
          <cx:pt idx="1444">10.458520218524718</cx:pt>
          <cx:pt idx="1445">10.473314784758699</cx:pt>
          <cx:pt idx="1446">10.04313278459626</cx:pt>
          <cx:pt idx="1447">10.446484205610254</cx:pt>
          <cx:pt idx="1448">10.258906437351037</cx:pt>
          <cx:pt idx="1449">10.181260458122514</cx:pt>
          <cx:pt idx="1450">10.229937091850848</cx:pt>
          <cx:pt idx="1451">10.319414837123526</cx:pt>
          <cx:pt idx="1452">10.421441916208295</cx:pt>
          <cx:pt idx="1453">10.366613075960087</cx:pt>
          <cx:pt idx="1454">10.259011250016103</cx:pt>
          <cx:pt idx="1455">9.723488908778565</cx:pt>
          <cx:pt idx="1456">9.9982794218730202</cx:pt>
          <cx:pt idx="1457">10.062599762412029</cx:pt>
          <cx:pt idx="1458">9.9715724970796931</cx:pt>
          <cx:pt idx="1459">10.624176122390379</cx:pt>
          <cx:pt idx="1460">10.577313926156918</cx:pt>
          <cx:pt idx="1461">10.543101500379848</cx:pt>
          <cx:pt idx="1462">10.960044737370433</cx:pt>
          <cx:pt idx="1463">11.431986816850568</cx:pt>
          <cx:pt idx="1464">11.569239898453009</cx:pt>
          <cx:pt idx="1465">11.375223027472087</cx:pt>
          <cx:pt idx="1466">11.375223027472087</cx:pt>
          <cx:pt idx="1467">11.188896185480601</cx:pt>
          <cx:pt idx="1468">11.268759747042225</cx:pt>
          <cx:pt idx="1469">11.369455401602673</cx:pt>
          <cx:pt idx="1470">11.681434585636076</cx:pt>
          <cx:pt idx="1471">11.749445193948155</cx:pt>
          <cx:pt idx="1472">11.28878023259311</cx:pt>
          <cx:pt idx="1473">11.144408887974523</cx:pt>
          <cx:pt idx="1474">11.116876640340989</cx:pt>
          <cx:pt idx="1475">11.36529332983176</cx:pt>
          <cx:pt idx="1476">11.487253337822398</cx:pt>
          <cx:pt idx="1477">11.080545772824367</cx:pt>
          <cx:pt idx="1478">10.407400179421547</cx:pt>
          <cx:pt idx="1479">10.435258677000487</cx:pt>
          <cx:pt idx="1480">10.494442973942606</cx:pt>
          <cx:pt idx="1481">10.705440281132915</cx:pt>
          <cx:pt idx="1482">10.473930771513226</cx:pt>
          <cx:pt idx="1483">10.509289285690189</cx:pt>
          <cx:pt idx="1484">11.244209979563534</cx:pt>
          <cx:pt idx="1485">11.194372626218215</cx:pt>
          <cx:pt idx="1486">11.31570418888381</cx:pt>
          <cx:pt idx="1487">10.859513444812551</cx:pt>
          <cx:pt idx="1488">10.5948861675445</cx:pt>
          <cx:pt idx="1489">10.498847863056827</cx:pt>
          <cx:pt idx="1490">10.379363313599677</cx:pt>
          <cx:pt idx="1491">10.43309457282888</cx:pt>
          <cx:pt idx="1492">10.546874377737936</cx:pt>
          <cx:pt idx="1493">10.293018826327861</cx:pt>
          <cx:pt idx="1494">9.8951492406443098</cx:pt>
          <cx:pt idx="1495">9.4645916247694455</cx:pt>
          <cx:pt idx="1496">9.8257944492615845</cx:pt>
          <cx:pt idx="1497">9.9189186021742888</cx:pt>
          <cx:pt idx="1498">9.9459831412063693</cx:pt>
          <cx:pt idx="1499">9.9929007058075481</cx:pt>
          <cx:pt idx="1500">10.04441748339072</cx:pt>
          <cx:pt idx="1501">10.003117793538065</cx:pt>
          <cx:pt idx="1502">10.076695140086187</cx:pt>
          <cx:pt idx="1503">10.371175937307237</cx:pt>
          <cx:pt idx="1504">10.130439598142468</cx:pt>
          <cx:pt idx="1505">10.297196611919</cx:pt>
          <cx:pt idx="1506">10.297196611919</cx:pt>
          <cx:pt idx="1507">10.251776662178258</cx:pt>
          <cx:pt idx="1508">10.226573018314824</cx:pt>
          <cx:pt idx="1509">10.375218614097854</cx:pt>
          <cx:pt idx="1510">10.277755497408767</cx:pt>
          <cx:pt idx="1511">10.467050195014174</cx:pt>
          <cx:pt idx="1512">10.223207837788671</cx:pt>
          <cx:pt idx="1513">10.207734786051486</cx:pt>
          <cx:pt idx="1514">10.207734786051486</cx:pt>
          <cx:pt idx="1515">9.5629212255247307</cx:pt>
          <cx:pt idx="1516">10.206892042208066</cx:pt>
          <cx:pt idx="1517">10.235296298719478</cx:pt>
          <cx:pt idx="1518">10.237817307698279</cx:pt>
          <cx:pt idx="1519">10.336905383296578</cx:pt>
          <cx:pt idx="1520">10.462529145910764</cx:pt>
          <cx:pt idx="1521">10.533816512669121</cx:pt>
          <cx:pt idx="1522">10.443395814055513</cx:pt>
          <cx:pt idx="1523">10.533816512669123</cx:pt>
          <cx:pt idx="1524">10.557675697284521</cx:pt>
          <cx:pt idx="1525">10.588795051617597</cx:pt>
          <cx:pt idx="1526">10.588795051617597</cx:pt>
          <cx:pt idx="1527">10.492598517808348</cx:pt>
          <cx:pt idx="1528">10.338985620258594</cx:pt>
          <cx:pt idx="1529">10.676675411824711</cx:pt>
          <cx:pt idx="1530">10.369309554891364</cx:pt>
          <cx:pt idx="1531">10.44730762249967</cx:pt>
          <cx:pt idx="1532">9.9884879973456595</cx:pt>
          <cx:pt idx="1533">9.7045605064658087</cx:pt>
          <cx:pt idx="1534">8.9434303394480104</cx:pt>
          <cx:pt idx="1535">8.9803848374085273</cx:pt>
          <cx:pt idx="1536">9.8418679929878099</cx:pt>
          <cx:pt idx="1537">9.1752354867087274</cx:pt>
          <cx:pt idx="1538">8.9425886896982067</cx:pt>
          <cx:pt idx="1539">8.9793071553014201</cx:pt>
          <cx:pt idx="1540">9.1754698687221445</cx:pt>
          <cx:pt idx="1541">9.2750097817529493</cx:pt>
          <cx:pt idx="1542">9.334408540218222</cx:pt>
          <cx:pt idx="1543">9.211493521857669</cx:pt>
          <cx:pt idx="1544">10.139351636712439</cx:pt>
          <cx:pt idx="1545">10.194558953582275</cx:pt>
          <cx:pt idx="1546">10.620329460495205</cx:pt>
          <cx:pt idx="1547">10.380709984627556</cx:pt>
          <cx:pt idx="1548">10.456566594548928</cx:pt>
          <cx:pt idx="1549">10.962595250380081</cx:pt>
          <cx:pt idx="1550">10.892929540692652</cx:pt>
          <cx:pt idx="1551">11.044387471637164</cx:pt>
          <cx:pt idx="1552">10.938734569340946</cx:pt>
          <cx:pt idx="1553">11.329474358826708</cx:pt>
          <cx:pt idx="1554">10.964850978889194</cx:pt>
          <cx:pt idx="1555">11.132148542972093</cx:pt>
          <cx:pt idx="1556">11.122581892572843</cx:pt>
          <cx:pt idx="1557">11.307624224009119</cx:pt>
          <cx:pt idx="1558">11.390054140930733</cx:pt>
          <cx:pt idx="1559">11.559662903891832</cx:pt>
          <cx:pt idx="1560">11.918721155329317</cx:pt>
          <cx:pt idx="1561">11.713148571684966</cx:pt>
          <cx:pt idx="1562">11.791376473498966</cx:pt>
          <cx:pt idx="1563">12.010926924738069</cx:pt>
          <cx:pt idx="1564">12.279189493759592</cx:pt>
          <cx:pt idx="1565">12.275773851611719</cx:pt>
          <cx:pt idx="1566">12.334147023434532</cx:pt>
          <cx:pt idx="1567">11.917548279291648</cx:pt>
          <cx:pt idx="1568">12.257541018816012</cx:pt>
          <cx:pt idx="1569">12.706868856214431</cx:pt>
          <cx:pt idx="1570">12.533910991034793</cx:pt>
          <cx:pt idx="1571">12.24850221258146</cx:pt>
          <cx:pt idx="1572">12.037128940003909</cx:pt>
          <cx:pt idx="1573">11.98520593441442</cx:pt>
          <cx:pt idx="1574">12.257891905972032</cx:pt>
          <cx:pt idx="1575">12.4562891659172</cx:pt>
          <cx:pt idx="1576">12.47423150390048</cx:pt>
          <cx:pt idx="1577">12.378701792373711</cx:pt>
          <cx:pt idx="1578">12.336936410632909</cx:pt>
          <cx:pt idx="1579">12.478885392740864</cx:pt>
          <cx:pt idx="1580">12.292930042600016</cx:pt>
          <cx:pt idx="1581">12.507975949992526</cx:pt>
          <cx:pt idx="1582">12.140485898408777</cx:pt>
          <cx:pt idx="1583">12.167911263488447</cx:pt>
          <cx:pt idx="1584">11.841152951710674</cx:pt>
          <cx:pt idx="1585">12.016565626765644</cx:pt>
          <cx:pt idx="1586">11.940263500991856</cx:pt>
          <cx:pt idx="1587">11.871172275002822</cx:pt>
          <cx:pt idx="1588">11.953763972836322</cx:pt>
          <cx:pt idx="1589">11.902922745799581</cx:pt>
          <cx:pt idx="1590">11.98843528760786</cx:pt>
          <cx:pt idx="1591">11.767734271833005</cx:pt>
          <cx:pt idx="1592">11.656185768366369</cx:pt>
          <cx:pt idx="1593">12.245692681400747</cx:pt>
          <cx:pt idx="1594">12.20038779570516</cx:pt>
          <cx:pt idx="1595">12.032482917556555</cx:pt>
          <cx:pt idx="1596">12.460518292953639</cx:pt>
          <cx:pt idx="1597">12.224248773013258</cx:pt>
          <cx:pt idx="1598">12.091585984183514</cx:pt>
          <cx:pt idx="1599">12.156506289279427</cx:pt>
          <cx:pt idx="1600">11.915472908099618</cx:pt>
          <cx:pt idx="1601">11.782710132415046</cx:pt>
          <cx:pt idx="1602">12.352789071681842</cx:pt>
          <cx:pt idx="1603">12.348871351500669</cx:pt>
          <cx:pt idx="1604">12.48982381479944</cx:pt>
          <cx:pt idx="1605">12.136411047681255</cx:pt>
          <cx:pt idx="1606">12.076280848828624</cx:pt>
          <cx:pt idx="1607">11.914750955122001</cx:pt>
          <cx:pt idx="1608">12.422923659834048</cx:pt>
          <cx:pt idx="1609">12.225568131135347</cx:pt>
          <cx:pt idx="1610">12.473628094883315</cx:pt>
          <cx:pt idx="1611">12.578698498413042</cx:pt>
          <cx:pt idx="1612">12.382089041525186</cx:pt>
          <cx:pt idx="1613">12.810278131502516</cx:pt>
          <cx:pt idx="1614">12.783810326018333</cx:pt>
          <cx:pt idx="1615">12.996773793224918</cx:pt>
          <cx:pt idx="1616">13.375149481628757</cx:pt>
          <cx:pt idx="1617">13.289012358424744</cx:pt>
          <cx:pt idx="1618">13.48427997527539</cx:pt>
          <cx:pt idx="1619">13.329004673695552</cx:pt>
          <cx:pt idx="1620">13.345934905229518</cx:pt>
          <cx:pt idx="1621">13.564105065818355</cx:pt>
          <cx:pt idx="1622">13.680847612551256</cx:pt>
          <cx:pt idx="1623">14.134986716030745</cx:pt>
          <cx:pt idx="1624">13.676602734801921</cx:pt>
          <cx:pt idx="1625">13.885708596460121</cx:pt>
          <cx:pt idx="1626">14.120297294990808</cx:pt>
          <cx:pt idx="1627">13.808443731267108</cx:pt>
          <cx:pt idx="1628">13.808443731267108</cx:pt>
          <cx:pt idx="1629">13.875560629960107</cx:pt>
          <cx:pt idx="1630">13.583592252958113</cx:pt>
          <cx:pt idx="1631">13.94451370129455</cx:pt>
          <cx:pt idx="1632">14.254144841458935</cx:pt>
          <cx:pt idx="1633">14.000460821908916</cx:pt>
          <cx:pt idx="1634">13.964471046656341</cx:pt>
          <cx:pt idx="1635">14.014278433083881</cx:pt>
          <cx:pt idx="1636">14.01542928577345</cx:pt>
          <cx:pt idx="1637">13.563550142684559</cx:pt>
          <cx:pt idx="1638">14.050752859330295</cx:pt>
          <cx:pt idx="1639">13.986629560105355</cx:pt>
          <cx:pt idx="1640">13.968320532355479</cx:pt>
          <cx:pt idx="1641">13.904667739512389</cx:pt>
          <cx:pt idx="1642">13.860518695006464</cx:pt>
          <cx:pt idx="1643">13.897706161778633</cx:pt>
          <cx:pt idx="1644">13.463451122540324</cx:pt>
          <cx:pt idx="1645">13.759844960366863</cx:pt>
          <cx:pt idx="1646">13.250278958313229</cx:pt>
          <cx:pt idx="1647">12.908278580584575</cx:pt>
          <cx:pt idx="1648">12.617107348733398</cx:pt>
          <cx:pt idx="1649">12.412619315824116</cx:pt>
          <cx:pt idx="1650">12.408980445585557</cx:pt>
          <cx:pt idx="1651">12.58792731066138</cx:pt>
          <cx:pt idx="1652">12.542829849964534</cx:pt>
          <cx:pt idx="1653">12.437456435326524</cx:pt>
          <cx:pt idx="1654">11.879049960202593</cx:pt>
          <cx:pt idx="1655">12.151109511710912</cx:pt>
          <cx:pt idx="1656">12.039987139635183</cx:pt>
          <cx:pt idx="1657">11.885203595905669</cx:pt>
          <cx:pt idx="1658">11.7681911346071</cx:pt>
          <cx:pt idx="1659">12.028818442319244</cx:pt>
          <cx:pt idx="1660">12.15845208031217</cx:pt>
          <cx:pt idx="1661">12.541115177386464</cx:pt>
          <cx:pt idx="1662">12.472334977258518</cx:pt>
          <cx:pt idx="1663">12.092386300958669</cx:pt>
          <cx:pt idx="1664">12.441086976678941</cx:pt>
          <cx:pt idx="1665">12.677471339738554</cx:pt>
          <cx:pt idx="1666">12.201357231044828</cx:pt>
          <cx:pt idx="1667">12.337197883348683</cx:pt>
          <cx:pt idx="1668">12.805912612909022</cx:pt>
          <cx:pt idx="1669">12.751133198640128</cx:pt>
          <cx:pt idx="1670">13.452345200664809</cx:pt>
          <cx:pt idx="1671">14.585601974078291</cx:pt>
          <cx:pt idx="1672">14.771812739569345</cx:pt>
          <cx:pt idx="1673">15.825051597530926</cx:pt>
          <cx:pt idx="1674">15.953022432479145</cx:pt>
          <cx:pt idx="1675">16.772417192957718</cx:pt>
          <cx:pt idx="1676">17.157587117625972</cx:pt>
          <cx:pt idx="1677">17.349227617526125</cx:pt>
          <cx:pt idx="1678">18.113916707731203</cx:pt>
          <cx:pt idx="1679">18.12768333863449</cx:pt>
          <cx:pt idx="1680">18.287489113175599</cx:pt>
          <cx:pt idx="1681">18.471774457612437</cx:pt>
          <cx:pt idx="1682">18.144876939229569</cx:pt>
          <cx:pt idx="1683">18.221752332432686</cx:pt>
          <cx:pt idx="1684">18.560682226986774</cx:pt>
          <cx:pt idx="1685">18.284725395687488</cx:pt>
          <cx:pt idx="1686">17.685848786864263</cx:pt>
          <cx:pt idx="1687">17.768342029987597</cx:pt>
          <cx:pt idx="1688">17.654814445875086</cx:pt>
          <cx:pt idx="1689">17.764892283643668</cx:pt>
          <cx:pt idx="1690">16.49059686446299</cx:pt>
          <cx:pt idx="1691">14.899375753683854</cx:pt>
          <cx:pt idx="1692">14.834571653035095</cx:pt>
          <cx:pt idx="1693">15.021847888275753</cx:pt>
          <cx:pt idx="1694">14.127681970141539</cx:pt>
          <cx:pt idx="1695">14.105973721216696</cx:pt>
          <cx:pt idx="1696">12.170208646306097</cx:pt>
          <cx:pt idx="1697">11.232154304610519</cx:pt>
          <cx:pt idx="1698">10.816952048192837</cx:pt>
          <cx:pt idx="1699">6.3633696355216989</cx:pt>
          <cx:pt idx="1700">6.1703418284216562</cx:pt>
          <cx:pt idx="1701">6.2911441426544892</cx:pt>
          <cx:pt idx="1702">6.2654540121602222</cx:pt>
          <cx:pt idx="1703">6.3847937631414116</cx:pt>
          <cx:pt idx="1704">6.3197931094488027</cx:pt>
          <cx:pt idx="1705">6.1720842230087882</cx:pt>
          <cx:pt idx="1706">6.131533162654442</cx:pt>
          <cx:pt idx="1707">5.8757749431709589</cx:pt>
          <cx:pt idx="1708">5.8239402100204014</cx:pt>
          <cx:pt idx="1709">5.7233721919260008</cx:pt>
          <cx:pt idx="1710">5.6727987062199148</cx:pt>
          <cx:pt idx="1711">5.6064479008117196</cx:pt>
          <cx:pt idx="1712">5.5579063126905233</cx:pt>
          <cx:pt idx="1713">5.5579063126905233</cx:pt>
          <cx:pt idx="1714">9.9256374893450783</cx:pt>
          <cx:pt idx="1715">12.263592415142114</cx:pt>
          <cx:pt idx="1716">12.464745985102075</cx:pt>
          <cx:pt idx="1717">14.410047271455824</cx:pt>
          <cx:pt idx="1718">14.57025988506312</cx:pt>
          <cx:pt idx="1719">16.268579122549905</cx:pt>
          <cx:pt idx="1720">15.923878060105782</cx:pt>
          <cx:pt idx="1721">16.476115002979245</cx:pt>
          <cx:pt idx="1722">16.749514517117795</cx:pt>
          <cx:pt idx="1723">17.161722850075272</cx:pt>
          <cx:pt idx="1724">17.758354084344255</cx:pt>
          <cx:pt idx="1725">18.065710405990636</cx:pt>
          <cx:pt idx="1726">18.237501243671055</cx:pt>
          <cx:pt idx="1727">18.985563275900606</cx:pt>
          <cx:pt idx="1728">18.648474237798908</cx:pt>
          <cx:pt idx="1729">19.034151536939667</cx:pt>
          <cx:pt idx="1730">18.819402022198215</cx:pt>
          <cx:pt idx="1731">18.661385581675251</cx:pt>
          <cx:pt idx="1732">19.075007574795212</cx:pt>
          <cx:pt idx="1733">18.677972766514749</cx:pt>
          <cx:pt idx="1734">17.899900882767572</cx:pt>
          <cx:pt idx="1735">17.472559130838427</cx:pt>
          <cx:pt idx="1736">16.90911823750406</cx:pt>
          <cx:pt idx="1737">16.487205857550492</cx:pt>
          <cx:pt idx="1738">16.117645442919262</cx:pt>
          <cx:pt idx="1739">15.996841086013914</cx:pt>
          <cx:pt idx="1740">15.604865521913007</cx:pt>
          <cx:pt idx="1741">14.983144651771669</cx:pt>
          <cx:pt idx="1742">14.534349377524848</cx:pt>
          <cx:pt idx="1743">13.723067464862268</cx:pt>
          <cx:pt idx="1744">12.327955816908815</cx:pt>
          <cx:pt idx="1745">12.028818442319244</cx:pt>
          <cx:pt idx="1746">11.803043165090489</cx:pt>
          <cx:pt idx="1747">12.186719371194943</cx:pt>
          <cx:pt idx="1748">12.147657856469676</cx:pt>
          <cx:pt idx="1749">12.207876886032073</cx:pt>
          <cx:pt idx="1750">12.311197805162967</cx:pt>
          <cx:pt idx="1751">11.895874409096175</cx:pt>
          <cx:pt idx="1752">11.915743629189036</cx:pt>
          <cx:pt idx="1753">12.033555235793918</cx:pt>
          <cx:pt idx="1754">12.215801506721238</cx:pt>
          <cx:pt idx="1755">12.368534479124449</cx:pt>
          <cx:pt idx="1756">12.370794604219446</cx:pt>
          <cx:pt idx="1757">12.836272530338327</cx:pt>
          <cx:pt idx="1758">12.40811389061934</cx:pt>
          <cx:pt idx="1759">12.557651996130247</cx:pt>
          <cx:pt idx="1760">12.545315708923358</cx:pt>
          <cx:pt idx="1761">13.096991364267556</cx:pt>
          <cx:pt idx="1762">13.395232661828466</cx:pt>
          <cx:pt idx="1763">13.148122233975842</cx:pt>
          <cx:pt idx="1764">12.977399709718679</cx:pt>
          <cx:pt idx="1765">12.8296531519757</cx:pt>
          <cx:pt idx="1766">13.139696073472393</cx:pt>
          <cx:pt idx="1767">13.275006834333945</cx:pt>
          <cx:pt idx="1768">13.291520459640134</cx:pt>
          <cx:pt idx="1769">13.23477010699265</cx:pt>
          <cx:pt idx="1770">13.119221718327033</cx:pt>
          <cx:pt idx="1771">13.145586773244592</cx:pt>
          <cx:pt idx="1772">13.08532790768397</cx:pt>
          <cx:pt idx="1773">12.834429502130639</cx:pt>
          <cx:pt idx="1774">12.994291550647377</cx:pt>
          <cx:pt idx="1775">12.975245248060316</cx:pt>
          <cx:pt idx="1776">12.956170946363663</cx:pt>
          <cx:pt idx="1777">12.910860644459191</cx:pt>
          <cx:pt idx="1778">12.409586998057815</cx:pt>
          <cx:pt idx="1779">12.263680094586844</cx:pt>
          <cx:pt idx="1780">11.99560851544906</cx:pt>
          <cx:pt idx="1781">11.947375651005396</cx:pt>
          <cx:pt idx="1782">12.209109942637008</cx:pt>
          <cx:pt idx="1783">12.174713791871184</cx:pt>
          <cx:pt idx="1784">12.325338879504438</cx:pt>
          <cx:pt idx="1785">12.504794779328378</cx:pt>
          <cx:pt idx="1786">12.510984421011631</cx:pt>
          <cx:pt idx="1787">12.421452134041319</cx:pt>
          <cx:pt idx="1788">11.96104789166345</cx:pt>
          <cx:pt idx="1789">12.22231345681165</cx:pt>
          <cx:pt idx="1790">12.067551800245687</cx:pt>
          <cx:pt idx="1791">12.015760259910977</cx:pt>
          <cx:pt idx="1792">11.77440270840882</cx:pt>
          <cx:pt idx="1793">12.082690008829259</cx:pt>
          <cx:pt idx="1794">12.093364393980339</cx:pt>
          <cx:pt idx="1795">12.462934292645361</cx:pt>
          <cx:pt idx="1796">12.685950233755978</cx:pt>
          <cx:pt idx="1797">12.44981323001938</cx:pt>
          <cx:pt idx="1798">11.946295597155782</cx:pt>
          <cx:pt idx="1799">12.347391000374493</cx:pt>
          <cx:pt idx="1800">12.323332184479661</cx:pt>
          <cx:pt idx="1801">12.314952883228138</cx:pt>
          <cx:pt idx="1802">12.326124019063467</cx:pt>
          <cx:pt idx="1803">12.314952883228139</cx:pt>
          <cx:pt idx="1804">12.448258504101938</cx:pt>
          <cx:pt idx="1805">12.376529991223547</cx:pt>
          <cx:pt idx="1806">12.547029807458307</cx:pt>
          <cx:pt idx="1807">12.622390074102279</cx:pt>
          <cx:pt idx="1808">12.76040583168291</cx:pt>
          <cx:pt idx="1809">13.104378321110685</cx:pt>
          <cx:pt idx="1810">13.108972548995691</cx:pt>
          <cx:pt idx="1811">13.326664999166145</cx:pt>
          <cx:pt idx="1812">12.95226969772405</cx:pt>
          <cx:pt idx="1813">12.51390624315068</cx:pt>
          <cx:pt idx="1814">12.495590620144233</cx:pt>
          <cx:pt idx="1815">12.364969596334621</cx:pt>
          <cx:pt idx="1816">12.56681070052365</cx:pt>
          <cx:pt idx="1817">12.348784276935101</cx:pt>
          <cx:pt idx="1818">12.625286114079378</cx:pt>
          <cx:pt idx="1819">12.495848773058189</cx:pt>
          <cx:pt idx="1820">12.600733892264211</cx:pt>
          <cx:pt idx="1821">12.943383745979984</cx:pt>
          <cx:pt idx="1822">12.960817709501384</cx:pt>
          <cx:pt idx="1823">12.896944707786375</cx:pt>
          <cx:pt idx="1824">12.529277540980756</cx:pt>
          <cx:pt idx="1825">12.653615234178082</cx:pt>
          <cx:pt idx="1826">12.452144954926228</cx:pt>
          <cx:pt idx="1827">12.373836428407696</cx:pt>
          <cx:pt idx="1828">12.607814610284839</cx:pt>
          <cx:pt idx="1829">12.965048134051782</cx:pt>
          <cx:pt idx="1830">12.693491686009633</cx:pt>
          <cx:pt idx="1831">12.410800014070299</cx:pt>
          <cx:pt idx="1832">12.987421540843659</cx:pt>
          <cx:pt idx="1833">12.834680839742941</cx:pt>
          <cx:pt idx="1834">12.664063116695839</cx:pt>
          <cx:pt idx="1835">12.868232118261714</cx:pt>
          <cx:pt idx="1836">12.472421189271179</cx:pt>
          <cx:pt idx="1837">12.508577702082372</cx:pt>
          <cx:pt idx="1838">12.413832035534055</cx:pt>
          <cx:pt idx="1839">12.493611270591268</cx:pt>
          <cx:pt idx="1840">12.462589178507734</cx:pt>
          <cx:pt idx="1841">12.462589178507734</cx:pt>
          <cx:pt idx="1842">12.079841913086499</cx:pt>
          <cx:pt idx="1843">12.567409635491181</cx:pt>
          <cx:pt idx="1844">12.610969793786083</cx:pt>
          <cx:pt idx="1845">12.944380605008176</cx:pt>
          <cx:pt idx="1846">13.037250188330292</cx:pt>
          <cx:pt idx="1847">12.551142688843074</cx:pt>
          <cx:pt idx="1848">12.495848773058185</cx:pt>
          <cx:pt idx="1849">12.374097121402128</cx:pt>
          <cx:pt idx="1850">12.396062503529009</cx:pt>
          <cx:pt idx="1851">12.430365179455658</cx:pt>
          <cx:pt idx="1852">12.090963478956605</cx:pt>
          <cx:pt idx="1853">11.740839485656764</cx:pt>
          <cx:pt idx="1854">12.066036934794621</cx:pt>
          <cx:pt idx="1855">12.421538699207678</cx:pt>
          <cx:pt idx="1856">12.470524387315219</cx:pt>
          <cx:pt idx="1857">12.386430313612495</cx:pt>
          <cx:pt idx="1858">13.698598939425368</cx:pt>
          <cx:pt idx="1859">14.242976008945528</cx:pt>
          <cx:pt idx="1860">14.667864076242996</cx:pt>
          <cx:pt idx="1861">15.666003188879369</cx:pt>
          <cx:pt idx="1862">15.954909582474802</cx:pt>
          <cx:pt idx="1863">16.612600477458546</cx:pt>
          <cx:pt idx="1864">16.96422548295557</cx:pt>
          <cx:pt idx="1865">17.39533987774788</cx:pt>
          <cx:pt idx="1866">17.075732639078488</cx:pt>
          <cx:pt idx="1867">17.490704136277525</cx:pt>
          <cx:pt idx="1868">17.950709094329596</cx:pt>
          <cx:pt idx="1869">18.150979712294568</cx:pt>
          <cx:pt idx="1870">17.984939936405929</cx:pt>
          <cx:pt idx="1871">18.395184035473108</cx:pt>
          <cx:pt idx="1872">18.738035609279422</cx:pt>
          <cx:pt idx="1873">19.108799976951452</cx:pt>
          <cx:pt idx="1874">18.63468843053797</cx:pt>
          <cx:pt idx="1875">18.621412117433838</cx:pt>
          <cx:pt idx="1876">17.746724671305962</cx:pt>
          <cx:pt idx="1877">17.042767204256901</cx:pt>
          <cx:pt idx="1878">16.200491164729996</cx:pt>
          <cx:pt idx="1879">15.519533304145929</cx:pt>
          <cx:pt idx="1880">14.456311640130036</cx:pt>
          <cx:pt idx="1881">14.24591999693736</cx:pt>
          <cx:pt idx="1882">11.926837903048375</cx:pt>
          <cx:pt idx="1883">11.536011871200252</cx:pt>
          <cx:pt idx="1884">11.256061688316336</cx:pt>
          <cx:pt idx="1885">11.201766373767715</cx:pt>
          <cx:pt idx="1886">7.5664795581053292</cx:pt>
          <cx:pt idx="1887">7.2908839825711009</cx:pt>
          <cx:pt idx="1888">5.7872681913213206</cx:pt>
          <cx:pt idx="1889">5.9503320590453797</cx:pt>
          <cx:pt idx="1890">6.0811713642431036</cx:pt>
          <cx:pt idx="1891">6.0314587475714276</cx:pt>
          <cx:pt idx="1892">6.0744485125139391</cx:pt>
          <cx:pt idx="1893">5.7976636006072697</cx:pt>
          <cx:pt idx="1894">5.5677643628300215</cx:pt>
          <cx:pt idx="1895">5.6541924687012806</cx:pt>
          <cx:pt idx="1896">5.8250478792623621</cx:pt>
          <cx:pt idx="1897">5.7835510169437763</cx:pt>
          <cx:pt idx="1898">5.7971071762477555</cx:pt>
          <cx:pt idx="1899">5.965311914439944</cx:pt>
          <cx:pt idx="1900">6.0030458218961602</cx:pt>
          <cx:pt idx="1901">5.9349520565863463</cx:pt>
          <cx:pt idx="1902">6.306337484873314</cx:pt>
          <cx:pt idx="1903">10.051266437083802</cx:pt>
          <cx:pt idx="1904">10.153446366543704</cx:pt>
          <cx:pt idx="1905">12.731807598734079</cx:pt>
          <cx:pt idx="1906">14.506061024675613</cx:pt>
          <cx:pt idx="1907">14.75345776857182</cx:pt>
          <cx:pt idx="1908">16.281990842843872</cx:pt>
          <cx:pt idx="1909">17.277806013645407</cx:pt>
          <cx:pt idx="1910">18.21573230001491</cx:pt>
          <cx:pt idx="1911">18.864029604069909</cx:pt>
          <cx:pt idx="1912">19.746294058183629</cx:pt>
          <cx:pt idx="1913">19.917086197048132</cx:pt>
          <cx:pt idx="1914">20.25626147718917</cx:pt>
          <cx:pt idx="1915">20.379622966533617</cx:pt>
          <cx:pt idx="1916">20.36447465457897</cx:pt>
          <cx:pt idx="1917">19.904503191786223</cx:pt>
          <cx:pt idx="1918">20.205609782104244</cx:pt>
          <cx:pt idx="1919">20.527924856758688</cx:pt>
          <cx:pt idx="1920">19.911362725624727</cx:pt>
          <cx:pt idx="1921">19.248236897334621</cx:pt>
          <cx:pt idx="1922">18.824372213896318</cx:pt>
          <cx:pt idx="1923">18.650376916828915</cx:pt>
          <cx:pt idx="1924">18.806198932255551</cx:pt>
          <cx:pt idx="1925">18.542598442215354</cx:pt>
          <cx:pt idx="1926">17.739634259361551</cx:pt>
          <cx:pt idx="1927">16.988990742584235</cx:pt>
          <cx:pt idx="1928">16.240861781255621</cx:pt>
          <cx:pt idx="1929">15.579280422876524</cx:pt>
          <cx:pt idx="1930">15.180774485463337</cx:pt>
          <cx:pt idx="1931">13.983246504145557</cx:pt>
          <cx:pt idx="1932">11.835521530227263</cx:pt>
          <cx:pt idx="1933">11.478544735606159</cx:pt>
          <cx:pt idx="1934">11.561430130683084</cx:pt>
          <cx:pt idx="1935">11.561430130683084</cx:pt>
          <cx:pt idx="1936">11.945665520647344</cx:pt>
          <cx:pt idx="1937">11.808781132189596</cx:pt>
          <cx:pt idx="1938">11.937021115767518</cx:pt>
          <cx:pt idx="1939">11.782892647384385</cx:pt>
          <cx:pt idx="1940">11.77285012220915</cx:pt>
          <cx:pt idx="1941">12.038736760794253</cx:pt>
          <cx:pt idx="1942">12.020412745852163</cx:pt>
          <cx:pt idx="1943">12.350438588703371</cx:pt>
          <cx:pt idx="1944">12.603634908359803</cx:pt>
          <cx:pt idx="1945">13.026523810312757</cx:pt>
          <cx:pt idx="1946">13.013805737944081</cx:pt>
          <cx:pt idx="1947">12.991477769047522</cx:pt>
          <cx:pt idx="1948">13.369359930312166</cx:pt>
          <cx:pt idx="1949">13.189601639088629</cx:pt>
          <cx:pt idx="1950">13.138632193420232</cx:pt>
          <cx:pt idx="1951">13.464010171285267</cx:pt>
          <cx:pt idx="1952">13.502289730152782</cx:pt>
          <cx:pt idx="1953">13.761564052145028</cx:pt>
          <cx:pt idx="1954">13.385114505396681</cx:pt>
          <cx:pt idx="1955">13.32843996227454</cx:pt>
          <cx:pt idx="1956">13.497988699237052</cx:pt>
          <cx:pt idx="1957">13.145259581399127</cx:pt>
          <cx:pt idx="1958">12.897528312011561</cx:pt>
          <cx:pt idx="1959">12.897528312011561</cx:pt>
          <cx:pt idx="1960">12.804149193099079</cx:pt>
          <cx:pt idx="1961">12.485776854321639</cx:pt>
          <cx:pt idx="1962">11.868635815839673</cx:pt>
          <cx:pt idx="1963">11.763530301796751</cx:pt>
          <cx:pt idx="1964">12.129055136102878</cx:pt>
          <cx:pt idx="1965">11.959789259840029</cx:pt>
          <cx:pt idx="1966">11.51735483371036</cx:pt>
          <cx:pt idx="1967">11.604411471134496</cx:pt>
          <cx:pt idx="1968">11.760879200548422</cx:pt>
          <cx:pt idx="1969">12.001971164269518</cx:pt>
          <cx:pt idx="1970">12.29319245131879</cx:pt>
          <cx:pt idx="1971">12.29319245131879</cx:pt>
          <cx:pt idx="1972">12.125508524975244</cx:pt>
          <cx:pt idx="1973">12.530221530878981</cx:pt>
          <cx:pt idx="1974">12.118767104331704</cx:pt>
          <cx:pt idx="1975">12.188483900179966</cx:pt>
          <cx:pt idx="1976">11.813424111886944</cx:pt>
          <cx:pt idx="1977">11.811603553058477</cx:pt>
          <cx:pt idx="1978">11.796573222124561</cx:pt>
          <cx:pt idx="1979">11.373899568654959</cx:pt>
          <cx:pt idx="1980">11.474422233445912</cx:pt>
          <cx:pt idx="1981">11.474422233445912</cx:pt>
          <cx:pt idx="1982">10.951996921070595</cx:pt>
          <cx:pt idx="1983">11.004300234722514</cx:pt>
          <cx:pt idx="1984">10.7300201925874</cx:pt>
          <cx:pt idx="1985">10.71668380740782</cx:pt>
          <cx:pt idx="1986">10.870103025498253</cx:pt>
          <cx:pt idx="1987">10.402233010892578</cx:pt>
          <cx:pt idx="1988">10.384024123105998</cx:pt>
          <cx:pt idx="1989">10.27472104113383</cx:pt>
          <cx:pt idx="1990">10.695592499938057</cx:pt>
          <cx:pt idx="1991">10.732124422669351</cx:pt>
          <cx:pt idx="1992">10.869509490273227</cx:pt>
          <cx:pt idx="1993">11.150003616374361</cx:pt>
          <cx:pt idx="1994">11.437064816328673</cx:pt>
          <cx:pt idx="1995">11.335736620581073</cx:pt>
          <cx:pt idx="1996">11.423612595461332</cx:pt>
          <cx:pt idx="1997">12.208493429901864</cx:pt>
          <cx:pt idx="1998">11.898766539490147</cx:pt>
          <cx:pt idx="1999">11.776685551573717</cx:pt>
          <cx:pt idx="2000">11.426341948435669</cx:pt>
          <cx:pt idx="2001">11.1828401570663</cx:pt>
          <cx:pt idx="2002">11.241819008668301</cx:pt>
          <cx:pt idx="2003">11.316559376817329</cx:pt>
          <cx:pt idx="2004">11.264083180289157</cx:pt>
          <cx:pt idx="2005">11.283540205533567</cx:pt>
          <cx:pt idx="2006">10.999804494841316</cx:pt>
          <cx:pt idx="2007">11.576858637557017</cx:pt>
          <cx:pt idx="2008">12.064254496616845</cx:pt>
          <cx:pt idx="2009">12.263592415142114</cx:pt>
          <cx:pt idx="2010">12.307179476495282</cx:pt>
          <cx:pt idx="2011">12.161900672057362</cx:pt>
          <cx:pt idx="2012">12.114418673008879</cx:pt>
          <cx:pt idx="2013">12.148985532231306</cx:pt>
          <cx:pt idx="2014">12.107759886220308</cx:pt>
          <cx:pt idx="2015">12.015760259910978</cx:pt>
          <cx:pt idx="2016">12.45015869830193</cx:pt>
          <cx:pt idx="2017">12.179482129640675</cx:pt>
          <cx:pt idx="2018">12.197479027391521</cx:pt>
          <cx:pt idx="2019">12.215713483623396</cx:pt>
          <cx:pt idx="2020">12.324902669248614</cx:pt>
          <cx:pt idx="2021">12.17877582703456</cx:pt>
          <cx:pt idx="2022">12.137739953665003</cx:pt>
          <cx:pt idx="2023">12.085181542005309</cx:pt>
          <cx:pt idx="2024">12.22530427090177</cx:pt>
          <cx:pt idx="2025">12.22530427090177</cx:pt>
          <cx:pt idx="2026">11.728835892698365</cx:pt>
          <cx:pt idx="2027">11.282682514862447</cx:pt>
          <cx:pt idx="2028">11.17543388780253</cx:pt>
          <cx:pt idx="2029">11.139583590989618</cx:pt>
          <cx:pt idx="2030">11.56012798976659</cx:pt>
          <cx:pt idx="2031">11.472735328332929</cx:pt>
          <cx:pt idx="2032">11.551939743088907</cx:pt>
          <cx:pt idx="2033">11.974255538400906</cx:pt>
          <cx:pt idx="2034">11.836066623599226</cx:pt>
          <cx:pt idx="2035">11.297064039562603</cx:pt>
          <cx:pt idx="2036">11.385805159925448</cx:pt>
          <cx:pt idx="2037">11.503622617824933</cx:pt>
          <cx:pt idx="2038">11.115715891697945</cx:pt>
          <cx:pt idx="2039">10.442983959505762</cx:pt>
          <cx:pt idx="2040">10.041526679968346</cx:pt>
          <cx:pt idx="2041">10.081282560493786</cx:pt>
          <cx:pt idx="2042">10.213526767589052</cx:pt>
          <cx:pt idx="2043">10.233720352739004</cx:pt>
          <cx:pt idx="2044">9.9483612958676897</cx:pt>
          <cx:pt idx="2045">10.725910744096401</cx:pt>
          <cx:pt idx="2046">10.832646793796046</cx:pt>
          <cx:pt idx="2047">9.9723273024884715</cx:pt>
          <cx:pt idx="2048">10.314933323214724</cx:pt>
          <cx:pt idx="2049">10.397994016630923</cx:pt>
          <cx:pt idx="2050">10.906740541853548</cx:pt>
          <cx:pt idx="2051">10.84663368818139</cx:pt>
          <cx:pt idx="2052">10.74303975724778</cx:pt>
          <cx:pt idx="2053">10.744641074878071</cx:pt>
          <cx:pt idx="2054">11.02177707506703</cx:pt>
          <cx:pt idx="2055">11.381176687658392</cx:pt>
          <cx:pt idx="2056">11.381176687658392</cx:pt>
          <cx:pt idx="2057">11.637536597773437</cx:pt>
          <cx:pt idx="2058">11.97614115603383</cx:pt>
          <cx:pt idx="2059">11.650741819568252</cx:pt>
          <cx:pt idx="2060">11.650741819568252</cx:pt>
          <cx:pt idx="2061">11.54802966948526</cx:pt>
          <cx:pt idx="2062">11.812058719071613</cx:pt>
          <cx:pt idx="2063">11.740381558526321</cx:pt>
          <cx:pt idx="2064">11.765358299430513</cx:pt>
          <cx:pt idx="2065">11.69541772229298</cx:pt>
          <cx:pt idx="2066">11.910418318267796</cx:pt>
          <cx:pt idx="2067">11.784078925780845</cx:pt>
          <cx:pt idx="2068">12.169236729583544</cx:pt>
          <cx:pt idx="2069">12.428375442069338</cx:pt>
          <cx:pt idx="2070">12.478109865137892</cx:pt>
          <cx:pt idx="2071">12.590404265546537</cx:pt>
          <cx:pt idx="2072">12.52696017327411</cx:pt>
          <cx:pt idx="2073">12.624945437974295</cx:pt>
          <cx:pt idx="2074">12.552684671938442</cx:pt>
          <cx:pt idx="2075">12.584339132344198</cx:pt>
          <cx:pt idx="2076">12.375834934362233</cx:pt>
          <cx:pt idx="2077">12.569634001224188</cx:pt>
          <cx:pt idx="2078">12.653020379782166</cx:pt>
          <cx:pt idx="2079">12.162431137843935</cx:pt>
          <cx:pt idx="2080">12.300974696934535</cx:pt>
          <cx:pt idx="2081">12.300974696934535</cx:pt>
          <cx:pt idx="2082">11.684379794528921</cx:pt>
          <cx:pt idx="2083">11.675541939023322</cx:pt>
          <cx:pt idx="2084">11.655263244145223</cx:pt>
          <cx:pt idx="2085">11.60422614895664</cx:pt>
          <cx:pt idx="2086">11.49137123685532</cx:pt>
          <cx:pt idx="2087">11.093347808096429</cx:pt>
          <cx:pt idx="2088">10.922207819663292</cx:pt>
          <cx:pt idx="2089">10.814168324893956</cx:pt>
          <cx:pt idx="2090">10.698708594564012</cx:pt>
          <cx:pt idx="2091">11.265801328351767</cx:pt>
          <cx:pt idx="2092">11.003323056221236</cx:pt>
          <cx:pt idx="2093">11.157908618158817</cx:pt>
          <cx:pt idx="2094">11.5399260167957</cx:pt>
          <cx:pt idx="2095">11.488189353577697</cx:pt>
          <cx:pt idx="2096">11.610154991417263</cx:pt>
          <cx:pt idx="2097">11.529671865813587</cx:pt>
          <cx:pt idx="2098">11.517914984553318</cx:pt>
          <cx:pt idx="2099">11.174952791509821</cx:pt>
          <cx:pt idx="2100">11.318649564192242</cx:pt>
          <cx:pt idx="2101">11.366428591458762</cx:pt>
          <cx:pt idx="2102">11.173413144170521</cx:pt>
          <cx:pt idx="2103">11.272003571509771</cx:pt>
          <cx:pt idx="2104">10.755443732941618</cx:pt>
          <cx:pt idx="2105">10.703129880895206</cx:pt>
          <cx:pt idx="2106">11.218168826861048</cx:pt>
          <cx:pt idx="2107">11.689624109780304</cx:pt>
          <cx:pt idx="2108">11.721682876718921</cx:pt>
          <cx:pt idx="2109">11.629680234881413</cx:pt>
          <cx:pt idx="2110">12.322983160683725</cx:pt>
          <cx:pt idx="2111">12.252276505608762</cx:pt>
          <cx:pt idx="2112">12.330659402088868</cx:pt>
          <cx:pt idx="2113">12.908778375190463</cx:pt>
          <cx:pt idx="2114">13.280108821940454</cx:pt>
          <cx:pt idx="2115">13.681397778052151</cx:pt>
          <cx:pt idx="2116">13.896622936248148</cx:pt>
          <cx:pt idx="2117">13.728002932551007</cx:pt>
          <cx:pt idx="2118">13.690747208965073</cx:pt>
          <cx:pt idx="2119">14.06345068471072</cx:pt>
          <cx:pt idx="2120">13.916030827017259</cx:pt>
          <cx:pt idx="2121">13.999923194873805</cx:pt>
          <cx:pt idx="2122">13.766798145639955</cx:pt>
          <cx:pt idx="2123">13.783502683881158</cx:pt>
          <cx:pt idx="2124">13.826964462113843</cx:pt>
          <cx:pt idx="2125">13.911316658849934</cx:pt>
          <cx:pt idx="2126">13.699619333852787</cx:pt>
          <cx:pt idx="2127">13.751480858673061</cx:pt>
          <cx:pt idx="2128">13.782566516616063</cx:pt>
          <cx:pt idx="2129">14.091177747888237</cx:pt>
          <cx:pt idx="2130">13.964240043768941</cx:pt>
          <cx:pt idx="2131">13.519957370932346</cx:pt>
          <cx:pt idx="2132">13.519957370932346</cx:pt>
          <cx:pt idx="2133">13.474787288603791</cx:pt>
          <cx:pt idx="2134">13.362602283423172</cx:pt>
          <cx:pt idx="2135">13.18177301370898</cx:pt>
          <cx:pt idx="2136">13.436269323489066</cx:pt>
          <cx:pt idx="2137">13.182996542875308</cx:pt>
          <cx:pt idx="2138">12.959905083948193</cx:pt>
          <cx:pt idx="2139">12.769587526282823</cx:pt>
          <cx:pt idx="2140">12.48758523279167</cx:pt>
          <cx:pt idx="2141">12.094075684675811</cx:pt>
          <cx:pt idx="2142">12.055249157859183</cx:pt>
          <cx:pt idx="2143">12.055249157859182</cx:pt>
          <cx:pt idx="2144">11.824705320386572</cx:pt>
          <cx:pt idx="2145">11.335926332084716</cx:pt>
          <cx:pt idx="2146">11.005863539862037</cx:pt>
          <cx:pt idx="2147">11.184570785502409</cx:pt>
          <cx:pt idx="2148">11.561058105386767</cx:pt>
          <cx:pt idx="2149">11.577787409100351</cx:pt>
          <cx:pt idx="2150">11.188800083647395</cx:pt>
          <cx:pt idx="2151">11.45416297519664</cx:pt>
          <cx:pt idx="2152">11.525474356389196</cx:pt>
          <cx:pt idx="2153">11.501846509073211</cx:pt>
          <cx:pt idx="2154">11.598479692735411</cx:pt>
          <cx:pt idx="2155">11.497171227591556</cx:pt>
          <cx:pt idx="2156">11.001075216267658</cx:pt>
          <cx:pt idx="2157">10.66518806956257</cx:pt>
          <cx:pt idx="2158">10.385680795759027</cx:pt>
          <cx:pt idx="2159">10.334408546211051</cx:pt>
          <cx:pt idx="2160">10.342209160647482</cx:pt>
          <cx:pt idx="2161">10.72621148883546</cx:pt>
          <cx:pt idx="2162">10.700216056506243</cx:pt>
          <cx:pt idx="2163">10.294585694609372</cx:pt>
          <cx:pt idx="2164">11.050616681084277</cx:pt>
          <cx:pt idx="2165">11.363211722271187</cx:pt>
          <cx:pt idx="2166">11.306863459435716</cx:pt>
          <cx:pt idx="2167">10.838005609492821</cx:pt>
          <cx:pt idx="2168">11.146820753166608</cx:pt>
          <cx:pt idx="2169">11.040979386198112</cx:pt>
          <cx:pt idx="2170">11.268473482404611</cx:pt>
          <cx:pt idx="2171">11.379381467401695</cx:pt>
          <cx:pt idx="2172">11.256252742651597</cx:pt>
          <cx:pt idx="2173">11.693302926604327</cx:pt>
          <cx:pt idx="2174">11.767003254499333</cx:pt>
          <cx:pt idx="2175">11.714341912869578</cx:pt>
          <cx:pt idx="2176">11.67204177253427</cx:pt>
          <cx:pt idx="2177">12.233744975641441</cx:pt>
          <cx:pt idx="2178">12.398491063236738</cx:pt>
          <cx:pt idx="2179">12.032482917556555</cx:pt>
          <cx:pt idx="2180">12.241565013448838</cx:pt>
          <cx:pt idx="2181">12.504364829328447</cx:pt>
          <cx:pt idx="2182">12.326036783804392</cx:pt>
          <cx:pt idx="2183">12.19227677274535</cx:pt>
          <cx:pt idx="2184">12.192276772745352</cx:pt>
          <cx:pt idx="2185">12.076102768050468</cx:pt>
          <cx:pt idx="2186">11.929632393006001</cx:pt>
          <cx:pt idx="2187">11.980360272465287</cx:pt>
          <cx:pt idx="2188">12.279627327888578</cx:pt>
          <cx:pt idx="2189">12.325251638688327</cx:pt>
          <cx:pt idx="2190">12.375748049509825</cx:pt>
          <cx:pt idx="2191">12.331792987216817</cx:pt>
          <cx:pt idx="2192">12.263592415142114</cx:pt>
          <cx:pt idx="2193">12.172063908185264</cx:pt>
          <cx:pt idx="2194">13.250847000722599</cx:pt>
          <cx:pt idx="2195">13.290792349981345</cx:pt>
          <cx:pt idx="2196">14.141831488511745</cx:pt>
          <cx:pt idx="2197">15.643680231415999</cx:pt>
          <cx:pt idx="2198">16.245958968177252</cx:pt>
          <cx:pt idx="2199">16.774660870247956</cx:pt>
          <cx:pt idx="2200">17.953104981997505</cx:pt>
          <cx:pt idx="2201">18.042005944312944</cx:pt>
          <cx:pt idx="2202">18.042899893285995</cx:pt>
          <cx:pt idx="2203">18.321090731487519</cx:pt>
          <cx:pt idx="2204">18.66760750317172</cx:pt>
          <cx:pt idx="2205">17.682565376086409</cx:pt>
          <cx:pt idx="2206">18.168447185114076</cx:pt>
          <cx:pt idx="2207">17.553175738157005</cx:pt>
          <cx:pt idx="2208">18.150031843332354</cx:pt>
          <cx:pt idx="2209">18.72965562950905</cx:pt>
          <cx:pt idx="2210">18.40441742205282</cx:pt>
          <cx:pt idx="2211">17.114038757132846</cx:pt>
          <cx:pt idx="2212">17.036961716107982</cx:pt>
          <cx:pt idx="2213">17.097443687439398</cx:pt>
          <cx:pt idx="2214">15.961782313502964</cx:pt>
          <cx:pt idx="2215">14.545294476147584</cx:pt>
          <cx:pt idx="2216">14.012360135221323</cx:pt>
          <cx:pt idx="2217">13.512399721609745</cx:pt>
          <cx:pt idx="2218">13.319078401389701</cx:pt>
          <cx:pt idx="2219">13.035435575582481</cx:pt>
          <cx:pt idx="2220">12.727246194637891</cx:pt>
          <cx:pt idx="2221">12.621367783690594</cx:pt>
          <cx:pt idx="2222">11.424365585548198</cx:pt>
          <cx:pt idx="2223">10.773324284037503</cx:pt>
          <cx:pt idx="2224">9.0973232504171602</cx:pt>
          <cx:pt idx="2225">9.2622485019474592</cx:pt>
          <cx:pt idx="2226">8.8766941439215525</cx:pt>
          <cx:pt idx="2227">9.1411864833062371</cx:pt>
          <cx:pt idx="2228">9.1411864833062371</cx:pt>
          <cx:pt idx="2229">9.1468309336639759</cx:pt>
          <cx:pt idx="2230">9.1501219217448515</cx:pt>
          <cx:pt idx="2231">8.8012706804982361</cx:pt>
          <cx:pt idx="2232">8.6578946508343613</cx:pt>
          <cx:pt idx="2233">8.2799148091820278</cx:pt>
          <cx:pt idx="2234">8.266137686856208</cx:pt>
          <cx:pt idx="2235">8.266137686856208</cx:pt>
          <cx:pt idx="2236">8.1330336627324851</cx:pt>
          <cx:pt idx="2237">8.1330336627324851</cx:pt>
          <cx:pt idx="2238">7.6916376879427073</cx:pt>
          <cx:pt idx="2239">8.2774470117457177</cx:pt>
          <cx:pt idx="2240">8.7779048128369332</cx:pt>
          <cx:pt idx="2241">9.2221099444734982</cx:pt>
          <cx:pt idx="2242">9.3395908362865292</cx:pt>
          <cx:pt idx="2243">9.1501219217448533</cx:pt>
          <cx:pt idx="2244">9.9911789051131734</cx:pt>
          <cx:pt idx="2245">10.433403758050135</cx:pt>
          <cx:pt idx="2246">44.425508510895092</cx:pt>
          <cx:pt idx="2247">61.003384358786278</cx:pt>
          <cx:pt idx="2248">73.140680471164231</cx:pt>
          <cx:pt idx="2249">82.672524072748274</cx:pt>
          <cx:pt idx="2250">90.626149232609379</cx:pt>
          <cx:pt idx="2251">97.420284478936864</cx:pt>
          <cx:pt idx="2252">103.33178632209999</cx:pt>
          <cx:pt idx="2253">108.28296264879347</cx:pt>
          <cx:pt idx="2254">112.66501875743378</cx:pt>
          <cx:pt idx="2255">116.25246904534882</cx:pt>
          <cx:pt idx="2256">118.95400755745261</cx:pt>
          <cx:pt idx="2257">121.35812992512999</cx:pt>
          <cx:pt idx="2258">122.81431915394603</cx:pt>
          <cx:pt idx="2259">123.71573382435609</cx:pt>
          <cx:pt idx="2260">124.42117165896344</cx:pt>
          <cx:pt idx="2261">124.5704188293185</cx:pt>
          <cx:pt idx="2262">123.30155359231922</cx:pt>
          <cx:pt idx="2263">121.99774367735492</cx:pt>
          <cx:pt idx="2264">121.10621837474845</cx:pt>
          <cx:pt idx="2265">120.0367954340023</cx:pt>
          <cx:pt idx="2266">119.52345340550738</cx:pt>
          <cx:pt idx="2267">118.06246751850962</cx:pt>
          <cx:pt idx="2268">116.44054276754295</cx:pt>
          <cx:pt idx="2269">115.10102154755327</cx:pt>
          <cx:pt idx="2270">112.8783625465164</cx:pt>
          <cx:pt idx="2271">111.42034137947289</cx:pt>
          <cx:pt idx="2272">109.78296281632765</cx:pt>
          <cx:pt idx="2273">108.63224931574346</cx:pt>
          <cx:pt idx="2274">107.35714689412769</cx:pt>
          <cx:pt idx="2275">104.29841388911409</cx:pt>
          <cx:pt idx="2276">101.7155637745694</cx:pt>
          <cx:pt idx="2277">102.32166232350393</cx:pt>
          <cx:pt idx="2278">101.63289409089127</cx:pt>
          <cx:pt idx="2279">101.23860881095955</cx:pt>
          <cx:pt idx="2280">100.2885085452793</cx:pt>
          <cx:pt idx="2281">98.501350899529598</cx:pt>
          <cx:pt idx="2282">96.170580975479652</cx:pt>
          <cx:pt idx="2283">93.395712641346364</cx:pt>
          <cx:pt idx="2284">89.803740612276215</cx:pt>
          <cx:pt idx="2285">85.637935017015053</cx:pt>
          <cx:pt idx="2286">80.926476654157597</cx:pt>
          <cx:pt idx="2287">75.354488417951472</cx:pt>
          <cx:pt idx="2288">69.215092517875505</cx:pt>
          <cx:pt idx="2289">61.407365324764022</cx:pt>
          <cx:pt idx="2290">51.667880665584839</cx:pt>
          <cx:pt idx="2291">38.263714246750617</cx:pt>
          <cx:pt idx="2292">12.927673076884167</cx:pt>
          <cx:pt idx="2293">12.866978657981297</cx:pt>
          <cx:pt idx="2294">12.3070921069533</cx:pt>
          <cx:pt idx="2295">12.333013654677094</cx:pt>
          <cx:pt idx="2296">12.719302070526133</cx:pt>
          <cx:pt idx="2297">12.642988621774624</cx:pt>
          <cx:pt idx="2298">12.45516691159532</cx:pt>
          <cx:pt idx="2299">12.427250666973164</cx:pt>
          <cx:pt idx="2300">12.445580465300907</cx:pt>
          <cx:pt idx="2301">12.436505404118419</cx:pt>
          <cx:pt idx="2302">12.148365968266049</cx:pt>
          <cx:pt idx="2303">12.309800274403273</cx:pt>
          <cx:pt idx="2304">11.915653389509311</cx:pt>
          <cx:pt idx="2305">12.128966483463843</cx:pt>
          <cx:pt idx="2306">11.907529017887295</cx:pt>
          <cx:pt idx="2307">11.901657967089768</cx:pt>
          <cx:pt idx="2308">11.685760105671854</cx:pt>
          <cx:pt idx="2309">11.947375651005393</cx:pt>
          <cx:pt idx="2310">11.993725958416402</cx:pt>
          <cx:pt idx="2311">11.985923643649574</cx:pt>
          <cx:pt idx="2312">12.402133011131852</cx:pt>
          <cx:pt idx="2313">12.896861333598363</cx:pt>
          <cx:pt idx="2314">12.9500280233848</cx:pt>
          <cx:pt idx="2315">12.760321565368677</cx:pt>
          <cx:pt idx="2316">12.775480547744827</cx:pt>
          <cx:pt idx="2317">13.165448426015139</cx:pt>
          <cx:pt idx="2318">13.310033405191433</cx:pt>
          <cx:pt idx="2319">13.013805737944079</cx:pt>
          <cx:pt idx="2320">13.030980454781723</cx:pt>
          <cx:pt idx="2321">12.959822114802034</cx:pt>
          <cx:pt idx="2322">12.84196749070243</cx:pt>
          <cx:pt idx="2323">12.916855704478648</cx:pt>
          <cx:pt idx="2324">13.13478513890354</cx:pt>
          <cx:pt idx="2325">13.297101309150293</cx:pt>
          <cx:pt idx="2326">13.366464214271394</cx:pt>
          <cx:pt idx="2327">13.515264170240915</cx:pt>
          <cx:pt idx="2328">13.474627690509651</cx:pt>
          <cx:pt idx="2329">13.474627690509651</cx:pt>
          <cx:pt idx="2330">13.474627690509651</cx:pt>
          <cx:pt idx="2331">13.911084773298324</cx:pt>
          <cx:pt idx="2332">13.975093051799391</cx:pt>
          <cx:pt idx="2333">13.902889001234426</cx:pt>
          <cx:pt idx="2334">13.97878577033439</cx:pt>
          <cx:pt idx="2335">13.934099891451412</cx:pt>
          <cx:pt idx="2336">14.06543846240795</cx:pt>
          <cx:pt idx="2337">14.000460821908913</cx:pt>
          <cx:pt idx="2338">14.000460821908913</cx:pt>
          <cx:pt idx="2339">13.914949027991906</cx:pt>
          <cx:pt idx="2340">13.734502507909959</cx:pt>
          <cx:pt idx="2341">13.851206228285486</cx:pt>
          <cx:pt idx="2342">13.612217788379654</cx:pt>
          <cx:pt idx="2343">13.095513472876107</cx:pt>
          <cx:pt idx="2344">13.189764686040396</cx:pt>
          <cx:pt idx="2345">13.060734883570859</cx:pt>
          <cx:pt idx="2346">13.095759799690233</cx:pt>
          <cx:pt idx="2347">13.070116946272796</cx:pt>
          <cx:pt idx="2348">12.885350521600728</cx:pt>
          <cx:pt idx="2349">12.618896906615293</cx:pt>
          <cx:pt idx="2350">12.800453620994288</cx:pt>
          <cx:pt idx="2351">12.698234573763498</cx:pt>
          <cx:pt idx="2352">12.698234573763498</cx:pt>
          <cx:pt idx="2353">12.711775930680494</cx:pt>
          <cx:pt idx="2354">12.529792453378114</cx:pt>
          <cx:pt idx="2355">12.427769806590055</cx:pt>
          <cx:pt idx="2356">12.16057440635405</cx:pt>
          <cx:pt idx="2357">12.035431562815926</cx:pt>
          <cx:pt idx="2358">11.822886498706241</cx:pt>
          <cx:pt idx="2359">11.557802373242273</cx:pt>
          <cx:pt idx="2360">11.60200205192635</cx:pt>
          <cx:pt idx="2361">11.781341180018513</cx:pt>
          <cx:pt idx="2362">11.725993549852516</cx:pt>
          <cx:pt idx="2363">11.588370143408657</cx:pt>
          <cx:pt idx="2364">11.589483553302022</cx:pt>
          <cx:pt idx="2365">11.260837074254438</cx:pt>
          <cx:pt idx="2366">11.531909912783707</cx:pt>
          <cx:pt idx="2367">11.295065056194051</cx:pt>
          <cx:pt idx="2368">11.097999432233248</cx:pt>
          <cx:pt idx="2369">11.065980027927695</cx:pt>
          <cx:pt idx="2370">10.956119711822472</cx:pt>
          <cx:pt idx="2371">11.479106780282091</cx:pt>
          <cx:pt idx="2372">10.98591473572616</cx:pt>
          <cx:pt idx="2373">10.86574968094849</cx:pt>
          <cx:pt idx="2374">10.757143163138531</cx:pt>
          <cx:pt idx="2375">10.658128303071379</cx:pt>
          <cx:pt idx="2376">10.643994722655304</cx:pt>
          <cx:pt idx="2377">11.160606604703267</cx:pt>
          <cx:pt idx="2378">11.530231418282106</cx:pt>
          <cx:pt idx="2379">11.376451815657573</cx:pt>
          <cx:pt idx="2380">11.344365282196883</cx:pt>
          <cx:pt idx="2381">11.026751439650209</cx:pt>
          <cx:pt idx="2382">11.026751439650209</cx:pt>
          <cx:pt idx="2383">11.436312662385021</cx:pt>
          <cx:pt idx="2384">11.79967194732617</cx:pt>
          <cx:pt idx="2385">12.027298698315205</cx:pt>
          <cx:pt idx="2386">11.797940407099128</cx:pt>
          <cx:pt idx="2387">12.210607058258109</cx:pt>
          <cx:pt idx="2388">12.18998354899346</cx:pt>
          <cx:pt idx="2389">12.481814728825741</cx:pt>
          <cx:pt idx="2390">12.687730081604665</cx:pt>
          <cx:pt idx="2391">12.77859433264393</cx:pt>
          <cx:pt idx="2392">12.934990471377382</cx:pt>
          <cx:pt idx="2393">12.585278992212608</cx:pt>
          <cx:pt idx="2394">12.647474874047198</cx:pt>
          <cx:pt idx="2395">12.871283958444716</cx:pt>
          <cx:pt idx="2396">13.031250594762273</cx:pt>
          <cx:pt idx="2397">12.958293827405633</cx:pt>
          <cx:pt idx="2398">12.983776859545204</cx:pt>
          <cx:pt idx="2399">13.15826736314474</cx:pt>
          <cx:pt idx="2400">13.277146105080421</cx:pt>
          <cx:pt idx="2401">13.216052043653331</cx:pt>
          <cx:pt idx="2402">13.099023459190215</cx:pt>
          <cx:pt idx="2403">13.416052928878752</cx:pt>
          <cx:pt idx="2404">13.730871862531641</cx:pt>
          <cx:pt idx="2405">13.926708741632712</cx:pt>
          <cx:pt idx="2406">13.706183900859605</cx:pt>
          <cx:pt idx="2407">14.051114672132305</cx:pt>
          <cx:pt idx="2408">13.956479976460159</cx:pt>
          <cx:pt idx="2409">12.959644321985882</cx:pt>
          <cx:pt idx="2410">13.025123652151873</cx:pt>
          <cx:pt idx="2411">13.48978721012155</cx:pt>
          <cx:pt idx="2412">14.07340065728984</cx:pt>
          <cx:pt idx="2413">14.734005195156852</cx:pt>
          <cx:pt idx="2414">14.841383583300672</cx:pt>
          <cx:pt idx="2415">15.157506391224119</cx:pt>
          <cx:pt idx="2416">14.82216005079653</cx:pt>
          <cx:pt idx="2417">13.313079855469029</cx:pt>
          <cx:pt idx="2418">14.099645385611653</cx:pt>
          <cx:pt idx="2419">13.45362404707371</cx:pt>
          <cx:pt idx="2420">14.863265679744362</cx:pt>
          <cx:pt idx="2421">5.5075705472861021</cx:pt>
          <cx:pt idx="2422">7.0710678118654755</cx:pt>
        </cx:lvl>
      </cx:numDim>
    </cx:data>
    <cx:data id="4">
      <cx:numDim type="val">
        <cx:f>'Data Repository Table'!$G$4937:$G$7360</cx:f>
        <cx:lvl ptCount="2424" formatCode="General">
          <cx:pt idx="0">3.625773925541937</cx:pt>
          <cx:pt idx="1">3.5396373060053086</cx:pt>
          <cx:pt idx="2">3.5152509508300862</cx:pt>
          <cx:pt idx="3">3.473091647422776</cx:pt>
          <cx:pt idx="4">3.4008221649844406</cx:pt>
          <cx:pt idx="5">3.3337634131149225</cx:pt>
          <cx:pt idx="6">3.2974411715100986</cx:pt>
          <cx:pt idx="7">3.3363427275534696</cx:pt>
          <cx:pt idx="8">3.3837054194464677</cx:pt>
          <cx:pt idx="9">3.3036311075275422</cx:pt>
          <cx:pt idx="10">3.2554338362752198</cx:pt>
          <cx:pt idx="11">3.2781452925609913</cx:pt>
          <cx:pt idx="12">3.2438527471451741</cx:pt>
          <cx:pt idx="13">3.234890435398432</cx:pt>
          <cx:pt idx="14">3.2448470315354649</cx:pt>
          <cx:pt idx="15">3.2259032243548824</cx:pt>
          <cx:pt idx="16">3.2696058754298143</cx:pt>
          <cx:pt idx="17">3.3140301294533714</cx:pt>
          <cx:pt idx="18">3.2709210829952458</cx:pt>
          <cx:pt idx="19">3.3408517360967465</cx:pt>
          <cx:pt idx="20">3.4416800098676492</cx:pt>
          <cx:pt idx="21">3.4416800098676492</cx:pt>
          <cx:pt idx="22">3.4416800098676492</cx:pt>
          <cx:pt idx="23">3.393859096941485</cx:pt>
          <cx:pt idx="24">3.4709237715566426</cx:pt>
          <cx:pt idx="25">3.4709237715566426</cx:pt>
          <cx:pt idx="26">3.4709237715566426</cx:pt>
          <cx:pt idx="27">3.470923771556643</cx:pt>
          <cx:pt idx="28">3.4771141167130479</cx:pt>
          <cx:pt idx="29">3.4203690928294264</cx:pt>
          <cx:pt idx="30">3.4423048042832289</cx:pt>
          <cx:pt idx="31">3.439179697143973</cx:pt>
          <cx:pt idx="32">3.4441785074815523</cx:pt>
          <cx:pt idx="33">3.5411558771447154</cx:pt>
          <cx:pt idx="34">3.5575151410070798</cx:pt>
          <cx:pt idx="35">3.6025677819655124</cx:pt>
          <cx:pt idx="36">3.6396856770821557</cx:pt>
          <cx:pt idx="37">3.6582503603395891</cx:pt>
          <cx:pt idx="38">3.7275492828283276</cx:pt>
          <cx:pt idx="39">3.7032389194627529</cx:pt>
          <cx:pt idx="40">3.6965546295208811</cx:pt>
          <cx:pt idx="41">3.6198378149375161</cx:pt>
          <cx:pt idx="42">3.6198378149375161</cx:pt>
          <cx:pt idx="43">3.5786102907278439</cx:pt>
          <cx:pt idx="44">3.5786102907278439</cx:pt>
          <cx:pt idx="45">3.5305121624251998</cx:pt>
          <cx:pt idx="46">3.5305121624251994</cx:pt>
          <cx:pt idx="47">3.5390296950994493</cx:pt>
          <cx:pt idx="48">3.4466751939330056</cx:pt>
          <cx:pt idx="49">3.5753035813654668</cx:pt>
          <cx:pt idx="50">3.5023801430836525</cx:pt>
          <cx:pt idx="51">3.3773438695079938</cx:pt>
          <cx:pt idx="52">3.457887974951158</cx:pt>
          <cx:pt idx="53">3.4008221649844406</cx:pt>
          <cx:pt idx="54">3.4008221649844406</cx:pt>
          <cx:pt idx="55">3.3260134683127567</cx:pt>
          <cx:pt idx="56">3.3065591380365986</cx:pt>
          <cx:pt idx="57">3.1772037479384259</cx:pt>
          <cx:pt idx="58">3.0827302519765838</cx:pt>
          <cx:pt idx="59">3.0827302519765838</cx:pt>
          <cx:pt idx="60">3.0701476270063797</cx:pt>
          <cx:pt idx="61">3.0391707980607054</cx:pt>
          <cx:pt idx="62">3.010376320561575</cx:pt>
          <cx:pt idx="63">3.0046558853298513</cx:pt>
          <cx:pt idx="64">2.9650291481640401</cx:pt>
          <cx:pt idx="65">2.8246229170733415</cx:pt>
          <cx:pt idx="66">2.9060559682020197</cx:pt>
          <cx:pt idx="67">2.9413624229641955</cx:pt>
          <cx:pt idx="68">2.9985659655012382</cx:pt>
          <cx:pt idx="69">2.8307071953500329</cx:pt>
          <cx:pt idx="70">2.9985659655012378</cx:pt>
          <cx:pt idx="71">2.9985659655012378</cx:pt>
          <cx:pt idx="72">3.0624327949615342</cx:pt>
          <cx:pt idx="73">3.0306676222507702</cx:pt>
          <cx:pt idx="74">3.1167256046408154</cx:pt>
          <cx:pt idx="75">3.1167256046408154</cx:pt>
          <cx:pt idx="76">3.2318974752183247</cx:pt>
          <cx:pt idx="77">3.3243966224302728</cx:pt>
          <cx:pt idx="78">3.2669738718835655</cx:pt>
          <cx:pt idx="79">3.4307276885696245</cx:pt>
          <cx:pt idx="80">3.3450332303024966</cx:pt>
          <cx:pt idx="81">3.4388670302314543</cx:pt>
          <cx:pt idx="82">3.4513516130625179</cx:pt>
          <cx:pt idx="83">3.4513516130625179</cx:pt>
          <cx:pt idx="84">3.4404300806418009</cx:pt>
          <cx:pt idx="85">3.3805261408909879</cx:pt>
          <cx:pt idx="86">3.3805261408909875</cx:pt>
          <cx:pt idx="87">3.3957595314890785</cx:pt>
          <cx:pt idx="88">3.3932253822320222</cx:pt>
          <cx:pt idx="89">3.3970258971983949</cx:pt>
          <cx:pt idx="90">3.3970258971983944</cx:pt>
          <cx:pt idx="91">3.3970258971983944</cx:pt>
          <cx:pt idx="92">3.4802051601865731</cx:pt>
          <cx:pt idx="93">3.4404300806418009</cx:pt>
          <cx:pt idx="94">3.5210580032662899</cx:pt>
          <cx:pt idx="95">3.491618227908424</cx:pt>
          <cx:pt idx="96">3.4916182279084245</cx:pt>
          <cx:pt idx="97">3.4175385721997524</cx:pt>
          <cx:pt idx="98">3.4541544255720424</cx:pt>
          <cx:pt idx="99">3.4096636859979177</cx:pt>
          <cx:pt idx="100">3.4096636859979177</cx:pt>
          <cx:pt idx="101">3.3266599866332398</cx:pt>
          <cx:pt idx="102">3.3700132414149095</cx:pt>
          <cx:pt idx="103">3.3700132414149095</cx:pt>
          <cx:pt idx="104">3.3900550317479468</cx:pt>
          <cx:pt idx="105">3.2541123692687624</cx:pt>
          <cx:pt idx="106">3.2541123692687624</cx:pt>
          <cx:pt idx="107">3.2008063500190986</cx:pt>
          <cx:pt idx="108">3.1380426746551722</cx:pt>
          <cx:pt idx="109">3.1462556684387226</cx:pt>
          <cx:pt idx="110">3.0171552506378609</cx:pt>
          <cx:pt idx="111">2.9985659655012382</cx:pt>
          <cx:pt idx="112">2.8230997986465658</cx:pt>
          <cx:pt idx="113">2.8329854308861004</cx:pt>
          <cx:pt idx="114">2.8329854308861004</cx:pt>
          <cx:pt idx="115">2.9534015380847367</cx:pt>
          <cx:pt idx="116">2.9256007562458413</cx:pt>
          <cx:pt idx="117">2.9974899894009885</cx:pt>
          <cx:pt idx="118">3.1588755315231896</cx:pt>
          <cx:pt idx="119">3.2128773156099952</cx:pt>
          <cx:pt idx="120">3.1873405505132704</cx:pt>
          <cx:pt idx="121">3.1287772870289046</cx:pt>
          <cx:pt idx="122">3.1609172481199774</cx:pt>
          <cx:pt idx="123">3.1287772870289055</cx:pt>
          <cx:pt idx="124">3.1067045085147393</cx:pt>
          <cx:pt idx="125">3.0501189823434123</cx:pt>
          <cx:pt idx="126">3.1025483802211533</cx:pt>
          <cx:pt idx="127">3.0753966437077733</cx:pt>
          <cx:pt idx="128">3.1256827211216236</cx:pt>
          <cx:pt idx="129">3.1930704540819614</cx:pt>
          <cx:pt idx="130">3.2325628169598497</cx:pt>
          <cx:pt idx="131">3.3114334355154202</cx:pt>
          <cx:pt idx="132">3.2656570746225424</cx:pt>
          <cx:pt idx="133">3.3649042549768469</cx:pt>
          <cx:pt idx="134">3.4513516130625184</cx:pt>
          <cx:pt idx="135">3.3585070928126859</cx:pt>
          <cx:pt idx="136">3.3585070928126859</cx:pt>
          <cx:pt idx="137">3.2938522076121446</cx:pt>
          <cx:pt idx="138">3.2504755648750012</cx:pt>
          <cx:pt idx="139">3.2709210829952458</cx:pt>
          <cx:pt idx="140">3.2504755648750012</cx:pt>
          <cx:pt idx="141">3.1236179739705405</cx:pt>
          <cx:pt idx="142">3.0778431213383652</cx:pt>
          <cx:pt idx="143">3.0956090998258703</cx:pt>
          <cx:pt idx="144">3.1826140604956361</cx:pt>
          <cx:pt idx="145">3.0543464535092468</cx:pt>
          <cx:pt idx="146">3.0437667665299624</cx:pt>
          <cx:pt idx="147">3.092829028227952</cx:pt>
          <cx:pt idx="148">3.1486470895646042</cx:pt>
          <cx:pt idx="149">3.1609172481199774</cx:pt>
          <cx:pt idx="150">3.0501189823434123</cx:pt>
          <cx:pt idx="151">3.1063583768765954</cx:pt>
          <cx:pt idx="152">3.1883524582218725</cx:pt>
          <cx:pt idx="153">3.2285687098122131</cx:pt>
          <cx:pt idx="154">3.1462556684387222</cx:pt>
          <cx:pt idx="155">3.2165566307994315</cx:pt>
          <cx:pt idx="156">3.1873405505132704</cx:pt>
          <cx:pt idx="157">3.1208628528399895</cx:pt>
          <cx:pt idx="158">3.0518811403171746</cx:pt>
          <cx:pt idx="159">3.0589196209302116</cx:pt>
          <cx:pt idx="160">3.0192928033329371</cx:pt>
          <cx:pt idx="161">2.9816643977223802</cx:pt>
          <cx:pt idx="162">2.9816643977223802</cx:pt>
          <cx:pt idx="163">2.9563127280848622</cx:pt>
          <cx:pt idx="164">2.8375364144316815</cx:pt>
          <cx:pt idx="165">2.7684862522743834</cx:pt>
          <cx:pt idx="166">2.7754685742143814</cx:pt>
          <cx:pt idx="167">2.7735308035570059</cx:pt>
          <cx:pt idx="168">2.8177624006002633</cx:pt>
          <cx:pt idx="169">3.0042979964732033</cx:pt>
          <cx:pt idx="170">3.0192928033329371</cx:pt>
          <cx:pt idx="171">3.0342135081274728</cx:pt>
          <cx:pt idx="172">3.2098638298924165</cx:pt>
          <cx:pt idx="173">3.274863536515026</cx:pt>
          <cx:pt idx="174">3.2948314036524877</cx:pt>
          <cx:pt idx="175">3.191386256246513</cx:pt>
          <cx:pt idx="176">3.2431897215384224</cx:pt>
          <cx:pt idx="177">3.3120827998584637</cx:pt>
          <cx:pt idx="178">3.2491520812839507</cx:pt>
          <cx:pt idx="179">3.2142157357120453</cx:pt>
          <cx:pt idx="180">3.1452302170555924</cx:pt>
          <cx:pt idx="181">3.2362197514337452</cx:pt>
          <cx:pt idx="182">3.2905861163700481</cx:pt>
          <cx:pt idx="183">3.2491520812839507</cx:pt>
          <cx:pt idx="184">3.4068242709161303</cx:pt>
          <cx:pt idx="185">3.5137211840354929</cx:pt>
          <cx:pt idx="186">3.3903722002036858</cx:pt>
          <cx:pt idx="187">3.4897699958100268</cx:pt>
          <cx:pt idx="188">3.5484359722929155</cx:pt>
          <cx:pt idx="189">3.625773925541937</cx:pt>
          <cx:pt idx="190">3.6582503603395886</cx:pt>
          <cx:pt idx="191">3.6600135142825891</cx:pt>
          <cx:pt idx="192">3.6376170860215788</cx:pt>
          <cx:pt idx="193">3.6094261301829285</cx:pt>
          <cx:pt idx="194">3.6732101924991412</cx:pt>
          <cx:pt idx="195">3.7128084028884576</cx:pt>
          <cx:pt idx="196">3.6455894695707514</cx:pt>
          <cx:pt idx="197">3.7191743794175776</cx:pt>
          <cx:pt idx="198">3.7157033806404982</cx:pt>
          <cx:pt idx="199">3.6025677819655137</cx:pt>
          <cx:pt idx="200">3.6025677819655133</cx:pt>
          <cx:pt idx="201">3.5155568243090936</cx:pt>
          <cx:pt idx="202">3.5210580032662904</cx:pt>
          <cx:pt idx="203">3.5210580032662904</cx:pt>
          <cx:pt idx="204">3.5375102112394892</cx:pt>
          <cx:pt idx="205">3.4247674750360111</cx:pt>
          <cx:pt idx="206">3.3995572134193912</cx:pt>
          <cx:pt idx="207">3.2202317421450091</cx:pt>
          <cx:pt idx="208">2.9175037201328888</cx:pt>
          <cx:pt idx="209">2.6752549873445406</cx:pt>
          <cx:pt idx="210">2.6518405051051093</cx:pt>
          <cx:pt idx="211">2.4096579867074959</cx:pt>
          <cx:pt idx="212">1.8768539221690339</cx:pt>
          <cx:pt idx="213">1.8716906278687211</cx:pt>
          <cx:pt idx="214">1.0544325284195508</cx:pt>
          <cx:pt idx="215">1.0544325284195508</cx:pt>
          <cx:pt idx="216">1.057487385216709</cx:pt>
          <cx:pt idx="217">1.0452143886684542</cx:pt>
          <cx:pt idx="218">1.0706243781736831</cx:pt>
          <cx:pt idx="219">1.1071614388213236</cx:pt>
          <cx:pt idx="220">1.1071614388213236</cx:pt>
          <cx:pt idx="221">1.1415891583453359</cx:pt>
          <cx:pt idx="222">1.1368698774616073</cx:pt>
          <cx:pt idx="223">1.1013188574642911</cx:pt>
          <cx:pt idx="224">1.0554517964472161</cx:pt>
          <cx:pt idx="225">1.1013188574642911</cx:pt>
          <cx:pt idx="226">1.0766335425511491</cx:pt>
          <cx:pt idx="227">1.0885523582075136</cx:pt>
          <cx:pt idx="228">1.2321848765069601</cx:pt>
          <cx:pt idx="229">1.465003945093591</cx:pt>
          <cx:pt idx="230">1.4955130022119318</cx:pt>
          <cx:pt idx="231">1.5794377657615948</cx:pt>
          <cx:pt idx="232">1.5512741901105767</cx:pt>
          <cx:pt idx="233">1.5512741901105767</cx:pt>
          <cx:pt idx="234">1.5218833832649807</cx:pt>
          <cx:pt idx="235">1.5512741901105769</cx:pt>
          <cx:pt idx="236">1.8973665961010275</cx:pt>
          <cx:pt idx="237">1.9232588830375374</cx:pt>
          <cx:pt idx="238">1.9482553540876468</cx:pt>
          <cx:pt idx="239">2.3121930194384257</cx:pt>
          <cx:pt idx="240">2.5661150084435302</cx:pt>
          <cx:pt idx="241">2.8878685818846672</cx:pt>
          <cx:pt idx="242">3.0274727740888872</cx:pt>
          <cx:pt idx="243">3.0103763205615754</cx:pt>
          <cx:pt idx="244">3.0150161824847901</cx:pt>
          <cx:pt idx="245">3.0324410834723872</cx:pt>
          <cx:pt idx="246">2.9859887863583925</cx:pt>
          <cx:pt idx="247">2.9859887863583925</cx:pt>
          <cx:pt idx="248">3.0515287901295061</cx:pt>
          <cx:pt idx="249">3.0196489150052646</cx:pt>
          <cx:pt idx="250">3.0196489150052646</cx:pt>
          <cx:pt idx="251">2.9982073497054795</cx:pt>
          <cx:pt idx="252">3.0592711198823546</cx:pt>
          <cx:pt idx="253">3.0189366496539232</cx:pt>
          <cx:pt idx="254">3.0788910166605645</cx:pt>
          <cx:pt idx="255">3.054698478688024</cx:pt>
          <cx:pt idx="256">3.0596225784532063</cx:pt>
          <cx:pt idx="257">3.0659419433511785</cx:pt>
          <cx:pt idx="258">3.1448883256238469</cx:pt>
          <cx:pt idx="259">3.2709210829952458</cx:pt>
          <cx:pt idx="260">3.2551035198179465</cx:pt>
          <cx:pt idx="261">3.2498138904529053</cx:pt>
          <cx:pt idx="262">3.253120916738991</cx:pt>
          <cx:pt idx="263">3.2085235944144128</cx:pt>
          <cx:pt idx="264">3.1907123281941789</cx:pt>
          <cx:pt idx="265">3.2441842091342012</cx:pt>
          <cx:pt idx="266">3.2028213369042366</cx:pt>
          <cx:pt idx="267">3.166355389341649</cx:pt>
          <cx:pt idx="268">3.125682721121624</cx:pt>
          <cx:pt idx="269">3.1346142428715065</cx:pt>
          <cx:pt idx="270">3.0157293737857152</cx:pt>
          <cx:pt idx="271">2.9704639223492517</cx:pt>
          <cx:pt idx="272">2.8530308351359546</cx:pt>
          <cx:pt idx="273">2.747041419261782</cx:pt>
          <cx:pt idx="274">2.811267651158746</cx:pt>
          <cx:pt idx="275">2.8852610250713373</cx:pt>
          <cx:pt idx="276">2.9197142296457206</cx:pt>
          <cx:pt idx="277">3.0680455058239362</cx:pt>
          <cx:pt idx="278">3.0596225784532063</cx:pt>
          <cx:pt idx="279">2.9974899894009881</cx:pt>
          <cx:pt idx="280">2.9974899894009881</cx:pt>
          <cx:pt idx="281">3.2085235944144119</cx:pt>
          <cx:pt idx="282">3.253120916738991</cx:pt>
          <cx:pt idx="283">3.2715784885054511</cx:pt>
          <cx:pt idx="284">3.3636257958672595</cx:pt>
          <cx:pt idx="285">3.4150205843300343</cx:pt>
          <cx:pt idx="286">3.4737107920301407</cx:pt>
          <cx:pt idx="287">3.468754540828181</cx:pt>
          <cx:pt idx="288">3.5956963523168248</cx:pt>
          <cx:pt idx="289">3.522279320681883</cx:pt>
          <cx:pt idx="290">3.572294825820042</cx:pt>
          <cx:pt idx="291">3.5656666269610309</cx:pt>
          <cx:pt idx="292">3.5017660674862126</cx:pt>
          <cx:pt idx="293">3.5164742851113613</cx:pt>
          <cx:pt idx="294">3.621322754826426</cx:pt>
          <cx:pt idx="295">3.6473587438654311</cx:pt>
          <cx:pt idx="296">3.6091282121328008</cx:pt>
          <cx:pt idx="297">3.6939357452888353</cx:pt>
          <cx:pt idx="298">3.7096213179488609</cx:pt>
          <cx:pt idx="299">3.7537078443380696</cx:pt>
          <cx:pt idx="300">3.8330761952092174</cx:pt>
          <cx:pt idx="301">3.8344785573075786</cx:pt>
          <cx:pt idx="302">3.7298562917342069</cx:pt>
          <cx:pt idx="303">3.7136771331743912</cx:pt>
          <cx:pt idx="304">3.7046904300893622</cx:pt>
          <cx:pt idx="305">3.6591320435081274</cx:pt>
          <cx:pt idx="306">3.5115783909374607</cx:pt>
          <cx:pt idx="307">3.4247674750360093</cx:pt>
          <cx:pt idx="308">3.5469205180396028</cx:pt>
          <cx:pt idx="309">3.6473587438654311</cx:pt>
          <cx:pt idx="310">3.5659681760018644</cx:pt>
          <cx:pt idx="311">3.5659681760018644</cx:pt>
          <cx:pt idx="312">3.5170857926866499</cx:pt>
          <cx:pt idx="313">3.5344692838217693</cx:pt>
          <cx:pt idx="314">3.41281582098375</cx:pt>
          <cx:pt idx="315">3.4391796971439734</cx:pt>
          <cx:pt idx="316">3.4222548059706557</cx:pt>
          <cx:pt idx="317">3.2630218859144953</cx:pt>
          <cx:pt idx="318">3.2498138904529053</cx:pt>
          <cx:pt idx="319">3.1829518996835198</cx:pt>
          <cx:pt idx="320">3.1455720713272455</cx:pt>
          <cx:pt idx="321">3.1455720713272455</cx:pt>
          <cx:pt idx="322">3.1510366957660967</cx:pt>
          <cx:pt idx="323">3.1249946236512884</cx:pt>
          <cx:pt idx="324">3.0412928773124426</cx:pt>
          <cx:pt idx="325">3</cx:pt>
          <cx:pt idx="326">3</cx:pt>
          <cx:pt idx="327">3.0274727740888863</cx:pt>
          <cx:pt idx="328">3.0189366496539236</cx:pt>
          <cx:pt idx="329">3.1609172481199779</cx:pt>
          <cx:pt idx="330">3.1087804890394337</cx:pt>
          <cx:pt idx="331">2.9881486338642049</cx:pt>
          <cx:pt idx="332">3.005371535187642</cx:pt>
          <cx:pt idx="333">2.9967724573764891</cx:pt>
          <cx:pt idx="334">3.0869130629262167</cx:pt>
          <cx:pt idx="335">3.2182276562281649</cx:pt>
          <cx:pt idx="336">3.1431783106392679</cx:pt>
          <cx:pt idx="337">3.1558104798840882</cx:pt>
          <cx:pt idx="338">3.0342135081274733</cx:pt>
          <cx:pt idx="339">2.9985659655012378</cx:pt>
          <cx:pt idx="340">2.8830240992730611</cx:pt>
          <cx:pt idx="341">2.9595843939557183</cx:pt>
          <cx:pt idx="342">2.8860062817091223</cx:pt>
          <cx:pt idx="343">2.8401877872187722</cx:pt>
          <cx:pt idx="344">2.9030943817325872</cx:pt>
          <cx:pt idx="345">2.9493939599827605</cx:pt>
          <cx:pt idx="346">2.9881486338642049</cx:pt>
          <cx:pt idx="347">2.9409968319587492</cx:pt>
          <cx:pt idx="348">2.9592210541478363</cx:pt>
          <cx:pt idx="349">3.0928290282279525</cx:pt>
          <cx:pt idx="350">3.0760958358604253</cx:pt>
          <cx:pt idx="351">3.2527903654078791</cx:pt>
          <cx:pt idx="352">3.2527903654078791</cx:pt>
          <cx:pt idx="353">3.2804405683658779</cx:pt>
          <cx:pt idx="354">3.4291602157009575</cx:pt>
          <cx:pt idx="355">3.4734012335220155</cx:pt>
          <cx:pt idx="356">3.4937732629498477</cx:pt>
          <cx:pt idx="357">3.4937732629498477</cx:pt>
          <cx:pt idx="358">3.5947991105430761</cx:pt>
          <cx:pt idx="359">3.5359900744277568</cx:pt>
          <cx:pt idx="360">3.3995572134193925</cx:pt>
          <cx:pt idx="361">3.3639454561954576</cx:pt>
          <cx:pt idx="362">3.3562652054079787</cx:pt>
          <cx:pt idx="363">3.3350533196879018</cx:pt>
          <cx:pt idx="364">3.2408680637217575</cx:pt>
          <cx:pt idx="365">3.4209977793695825</cx:pt>
          <cx:pt idx="366">3.4826760196814921</cx:pt>
          <cx:pt idx="367">3.4974645194077558</cx:pt>
          <cx:pt idx="368">3.5118845842842465</cx:pt>
          <cx:pt idx="369">3.5472236606851757</cx:pt>
          <cx:pt idx="370">3.6370258439069847</cx:pt>
          <cx:pt idx="371">3.7102009915703298</cx:pt>
          <cx:pt idx="372">3.6985902574458178</cx:pt>
          <cx:pt idx="373">3.6985902574458178</cx:pt>
          <cx:pt idx="374">3.7185961046135834</cx:pt>
          <cx:pt idx="375">3.654721500649786</cx:pt>
          <cx:pt idx="376">3.5750028197597725</cx:pt>
          <cx:pt idx="377">3.5858143449053572</cx:pt>
          <cx:pt idx="378">3.7183069334863834</cx:pt>
          <cx:pt idx="379">3.7671471765066955</cx:pt>
          <cx:pt idx="380">3.7315856124167515</cx:pt>
          <cx:pt idx="381">3.7751308458417445</cx:pt>
          <cx:pt idx="382">3.6305158257870636</cx:pt>
          <cx:pt idx="383">3.5466173494832955</cx:pt>
          <cx:pt idx="384">3.4916182279084245</cx:pt>
          <cx:pt idx="385">3.3520977222904684</cx:pt>
          <cx:pt idx="386">3.3234261373351717</cx:pt>
          <cx:pt idx="387">3.3929084804912213</cx:pt>
          <cx:pt idx="388">3.4055615487560331</cx:pt>
          <cx:pt idx="389">3.2636808825658501</cx:pt>
          <cx:pt idx="390">3.3205129801903963</cx:pt>
          <cx:pt idx="391">3.3075345721906761</cx:pt>
          <cx:pt idx="392">3.2352228156135809</cx:pt>
          <cx:pt idx="393">3.1870031765456122</cx:pt>
          <cx:pt idx="394">3.1208628528399895</cx:pt>
          <cx:pt idx="395">3.1208628528399895</cx:pt>
          <cx:pt idx="396">3.1208628528399895</cx:pt>
          <cx:pt idx="397">3.081334719876109</cx:pt>
          <cx:pt idx="398">3.1277461052529074</cx:pt>
          <cx:pt idx="399">3.2085235944144119</cx:pt>
          <cx:pt idx="400">3.1778805407350967</cx:pt>
          <cx:pt idx="401">3.0596225784532067</cx:pt>
          <cx:pt idx="402">2.9769725546934169</cx:pt>
          <cx:pt idx="403">2.9267031618955586</cx:pt>
          <cx:pt idx="404">2.8575498942012301</cx:pt>
          <cx:pt idx="405">2.9347748168822854</cx:pt>
          <cx:pt idx="406">2.9369723273488471</cx:pt>
          <cx:pt idx="407">2.9646664756474639</cx:pt>
          <cx:pt idx="408">3.0096618607626069</cx:pt>
          <cx:pt idx="409">2.9519448664606962</cx:pt>
          <cx:pt idx="410">2.9650291481640392</cx:pt>
          <cx:pt idx="411">2.94245892343955</cx:pt>
          <cx:pt idx="412">2.8541612706957866</cx:pt>
          <cx:pt idx="413">2.8451052099903049</cx:pt>
          <cx:pt idx="414">2.8413233324579394</cx:pt>
          <cx:pt idx="415">2.9152915345095063</cx:pt>
          <cx:pt idx="416">2.9366061898011622</cx:pt>
          <cx:pt idx="417">2.836778424191249</cx:pt>
          <cx:pt idx="418">2.836778424191249</cx:pt>
          <cx:pt idx="419">2.8413233324579394</cx:pt>
          <cx:pt idx="420">2.8605586340651596</cx:pt>
          <cx:pt idx="421">2.9318422407645297</cx:pt>
          <cx:pt idx="422">2.9296408822455926</cx:pt>
          <cx:pt idx="423">3.0107334868819358</cx:pt>
          <cx:pt idx="424">3.0631349462478359</cx:pt>
          <cx:pt idx="425">3.0384631089608649</cx:pt>
          <cx:pt idx="426">2.9486647242292534</cx:pt>
          <cx:pt idx="427">2.8833970407530867</cx:pt>
          <cx:pt idx="428">3.011090610836324</cx:pt>
          <cx:pt idx="429">3.0082324321088292</cx:pt>
          <cx:pt idx="430">2.8575498942012296</cx:pt>
          <cx:pt idx="431">2.8800388288899819</cx:pt>
          <cx:pt idx="432">2.8394305047663777</cx:pt>
          <cx:pt idx="433">2.9097537123726926</cx:pt>
          <cx:pt idx="434">2.9097537123726926</cx:pt>
          <cx:pt idx="435">2.9493939599827614</cx:pt>
          <cx:pt idx="436">2.8605586340651592</cx:pt>
          <cx:pt idx="437">2.9435550154587324</cx:pt>
          <cx:pt idx="438">3.0157293737857147</cx:pt>
          <cx:pt idx="439">2.9870689053253003</cx:pt>
          <cx:pt idx="440">2.9160291161872189</cx:pt>
          <cx:pt idx="441">2.9160291161872189</cx:pt>
          <cx:pt idx="442">3.0522334498294956</cx:pt>
          <cx:pt idx="443">3.0886542289865595</cx:pt>
          <cx:pt idx="444">3.0739977823009887</cx:pt>
          <cx:pt idx="445">3.1198290551460239</cx:pt>
          <cx:pt idx="446">3.0324410834723867</cx:pt>
          <cx:pt idx="447">2.9787779842697057</cx:pt>
          <cx:pt idx="448">3.0132324657206784</cx:pt>
          <cx:pt idx="449">2.9388023308458409</cx:pt>
          <cx:pt idx="450">3.0096618607626069</cx:pt>
          <cx:pt idx="451">3.0196489150052646</cx:pt>
          <cx:pt idx="452">3.096998199783521</cx:pt>
          <cx:pt idx="453">3.096998199783521</cx:pt>
          <cx:pt idx="454">3.0634859615410575</cx:pt>
          <cx:pt idx="455">3.0203610123892952</cx:pt>
          <cx:pt idx="456">2.9534015380847367</cx:pt>
          <cx:pt idx="457">2.9300078901871811</cx:pt>
          <cx:pt idx="458">2.8725620799602924</cx:pt>
          <cx:pt idx="459">2.7974642896045889</cx:pt>
          <cx:pt idx="460">2.9523091017469807</cx:pt>
          <cx:pt idx="461">2.9366061898011622</cx:pt>
          <cx:pt idx="462">2.9657543601470402</cx:pt>
          <cx:pt idx="463">3.0778431213383652</cx:pt>
          <cx:pt idx="464">2.9402655135757008</cx:pt>
          <cx:pt idx="465">3.0532901344551728</cx:pt>
          <cx:pt idx="466">3.0532901344551728</cx:pt>
          <cx:pt idx="467">3.1816003276906555</cx:pt>
          <cx:pt idx="468">3.1469391170551133</cx:pt>
          <cx:pt idx="469">3.0203610123892952</cx:pt>
          <cx:pt idx="470">3.0203610123892952</cx:pt>
          <cx:pt idx="471">3.0317318234735682</cx:pt>
          <cx:pt idx="472">3.0750469880141056</cx:pt>
          <cx:pt idx="473">3.0317318234735686</cx:pt>
          <cx:pt idx="474">2.9141848119636422</cx:pt>
          <cx:pt idx="475">2.9740815877044429</cx:pt>
          <cx:pt idx="476">2.9420934686876659</cx:pt>
          <cx:pt idx="477">2.8699406160729084</cx:pt>
          <cx:pt idx="478">2.8979043225002434</cx:pt>
          <cx:pt idx="479">2.8830240992730611</cx:pt>
          <cx:pt idx="480">2.8515228906145795</cx:pt>
          <cx:pt idx="481">2.8189069795117021</cx:pt>
          <cx:pt idx="482">2.8189069795117021</cx:pt>
          <cx:pt idx="483">2.7431243469437736</cx:pt>
          <cx:pt idx="484">2.7781791824669031</cx:pt>
          <cx:pt idx="485">2.7909223048712684</cx:pt>
          <cx:pt idx="486">2.8945629417333305</cx:pt>
          <cx:pt idx="487">2.9311086382907017</cx:pt>
          <cx:pt idx="488">2.9838273754444327</cx:pt>
          <cx:pt idx="489">2.9773337281924346</cx:pt>
          <cx:pt idx="490">2.9798607169586169</cx:pt>
          <cx:pt idx="491">2.8333649587102809</cx:pt>
          <cx:pt idx="492">2.9614004243125045</cx:pt>
          <cx:pt idx="493">3.0075174630120736</cx:pt>
          <cx:pt idx="494">2.908275178886798</cx:pt>
          <cx:pt idx="495">3.0075174630120736</cx:pt>
          <cx:pt idx="496">3.0571615199625595</cx:pt>
          <cx:pt idx="497">3.0917858569031322</cx:pt>
          <cx:pt idx="498">2.9964136269306869</cx:pt>
          <cx:pt idx="499">3.0952617274295759</cx:pt>
          <cx:pt idx="500">3.174833836986295</cx:pt>
          <cx:pt idx="501">3.2425265603574718</cx:pt>
          <cx:pt idx="502">3.234890435398432</cx:pt>
          <cx:pt idx="503">3.1377000000514039</cx:pt>
          <cx:pt idx="504">3.1067045085147389</cx:pt>
          <cx:pt idx="505">3.1067045085147389</cx:pt>
          <cx:pt idx="506">3.148305569189441</cx:pt>
          <cx:pt idx="507">3.1816003276906564</cx:pt>
          <cx:pt idx="508">3.2801127701568795</cx:pt>
          <cx:pt idx="509">3.3757516088615271</cx:pt>
          <cx:pt idx="510">3.4829847538711571</cx:pt>
          <cx:pt idx="511">3.4903861819180886</cx:pt>
          <cx:pt idx="512">3.5247206859520781</cx:pt>
          <cx:pt idx="513">3.636434505663273</cx:pt>
          <cx:pt idx="514">3.6156767388097477</cx:pt>
          <cx:pt idx="515">3.5959953831587335</cx:pt>
          <cx:pt idx="516">3.6165688010147301</cx:pt>
          <cx:pt idx="517">3.5719938108773701</cx:pt>
          <cx:pt idx="518">3.601373692512106</cx:pt>
          <cx:pt idx="519">3.6600135142825891</cx:pt>
          <cx:pt idx="520">3.7514155034559811</cx:pt>
          <cx:pt idx="521">3.7941664334516467</cx:pt>
          <cx:pt idx="522">3.8381223007740286</cx:pt>
          <cx:pt idx="523">3.7574299154997517</cx:pt>
          <cx:pt idx="524">3.8006790564743271</cx:pt>
          <cx:pt idx="525">3.8006790564743271</cx:pt>
          <cx:pt idx="526">3.7055610635501508</cx:pt>
          <cx:pt idx="527">3.6013736925121056</cx:pt>
          <cx:pt idx="528">3.5399410723483697</cx:pt>
          <cx:pt idx="529">3.5399410723483697</cx:pt>
          <cx:pt idx="530">3.4288466351401348</cx:pt>
          <cx:pt idx="531">3.4730916474227764</cx:pt>
          <cx:pt idx="532">3.3540218194864799</cx:pt>
          <cx:pt idx="533">3.3700132414149095</cx:pt>
          <cx:pt idx="534">3.3856115535303006</cx:pt>
          <cx:pt idx="535">3.4423048042832289</cx:pt>
          <cx:pt idx="536">3.4553993902639619</cx:pt>
          <cx:pt idx="537">3.4999231942417537</cx:pt>
          <cx:pt idx="538">3.4591315959138442</cx:pt>
          <cx:pt idx="539">3.4247674750360093</cx:pt>
          <cx:pt idx="540">3.317597265025281</cx:pt>
          <cx:pt idx="541">3.238876746751127</cx:pt>
          <cx:pt idx="542">3.2633514008747819</cx:pt>
          <cx:pt idx="543">3.203492717550307</cx:pt>
          <cx:pt idx="544">3.0886542289865591</cx:pt>
          <cx:pt idx="545">3.1301516676297969</cx:pt>
          <cx:pt idx="546">3.1486470895646046</cx:pt>
          <cx:pt idx="547">3.0917858569031327</cx:pt>
          <cx:pt idx="548">3.0697973734398984</cx:pt>
          <cx:pt idx="549">3.0303128054583297</cx:pt>
          <cx:pt idx="550">2.8975332482529308</cx:pt>
          <cx:pt idx="551">2.7746936283458021</cx:pt>
          <cx:pt idx="552">2.7415559509625305</cx:pt>
          <cx:pt idx="553">2.6518405051051102</cx:pt>
          <cx:pt idx="554">2.6518405051051102</cx:pt>
          <cx:pt idx="555">2.5157567962870564</cx:pt>
          <cx:pt idx="556">2.5915495426979716</cx:pt>
          <cx:pt idx="557">2.6457513110645907</cx:pt>
          <cx:pt idx="558">2.6768622298970599</cx:pt>
          <cx:pt idx="559">2.7618756288521236</cx:pt>
          <cx:pt idx="560">2.6526513415420703</cx:pt>
          <cx:pt idx="561">2.7653773391631371</cx:pt>
          <cx:pt idx="562">2.6720376019503469</cx:pt>
          <cx:pt idx="563">2.7688746209726918</cx:pt>
          <cx:pt idx="564">2.7489978623694546</cx:pt>
          <cx:pt idx="565">2.7684862522743825</cx:pt>
          <cx:pt idx="566">2.6542722713245865</cx:pt>
          <cx:pt idx="567">2.7951571021691164</cx:pt>
          <cx:pt idx="568">2.7951571021691164</cx:pt>
          <cx:pt idx="569">2.8363993531099565</cx:pt>
          <cx:pt idx="570">2.8993881445752012</cx:pt>
          <cx:pt idx="571">2.9632153417006881</cx:pt>
          <cx:pt idx="572">2.9252331953729485</cx:pt>
          <cx:pt idx="573">2.8975332482529312</cx:pt>
          <cx:pt idx="574">2.8975332482529312</cx:pt>
          <cx:pt idx="575">2.891589584048996</cx:pt>
          <cx:pt idx="576">2.9773337281924341</cx:pt>
          <cx:pt idx="577">2.9863488694210645</cx:pt>
          <cx:pt idx="578">2.9985659655012378</cx:pt>
          <cx:pt idx="579">3.0327956512705554</cx:pt>
          <cx:pt idx="580">2.9592210541478363</cx:pt>
          <cx:pt idx="581">2.9606741458406831</cx:pt>
          <cx:pt idx="582">2.9108621196425455</cx:pt>
          <cx:pt idx="583">2.8541612706957866</cx:pt>
          <cx:pt idx="584">2.8246229170733415</cx:pt>
          <cx:pt idx="585">2.8382942022444784</cx:pt>
          <cx:pt idx="586">2.9079054280520573</cx:pt>
          <cx:pt idx="587">2.7820468986407398</cx:pt>
          <cx:pt idx="588">2.7739184659816485</cx:pt>
          <cx:pt idx="589">2.7940027940041907</cx:pt>
          <cx:pt idx="590">2.7940027940041907</cx:pt>
          <cx:pt idx="591">2.7970798905248491</cx:pt>
          <cx:pt idx="592">2.573646423652344</cx:pt>
          <cx:pt idx="593">2.5736464236523444</cx:pt>
          <cx:pt idx="594">2.3316430129385042</cx:pt>
          <cx:pt idx="595">2.3646136786930696</cx:pt>
          <cx:pt idx="596">2.36461367869307</cx:pt>
          <cx:pt idx="597">2.3600619638302462</cx:pt>
          <cx:pt idx="598">1.9232588830375388</cx:pt>
          <cx:pt idx="599">1.8928274350623531</cx:pt>
          <cx:pt idx="600">1.8990659843468394</cx:pt>
          <cx:pt idx="601">1.422552604995152</cx:pt>
          <cx:pt idx="602">1.425572889934474</cx:pt>
          <cx:pt idx="603">1.2225480178356916</cx:pt>
          <cx:pt idx="604">1.2030427373775998</cx:pt>
          <cx:pt idx="605">1.1886560586672881</cx:pt>
          <cx:pt idx="606">1.1658215064692519</cx:pt>
          <cx:pt idx="607">1.1658215064692519</cx:pt>
          <cx:pt idx="608">1.1658215064692519</cx:pt>
          <cx:pt idx="609">1.1768373874750659</cx:pt>
          <cx:pt idx="610">1.1415891583453361</cx:pt>
          <cx:pt idx="611">1.1500350625790896</cx:pt>
          <cx:pt idx="612">1.1795752835077402</cx:pt>
          <cx:pt idx="613">1.1481635640850445</cx:pt>
          <cx:pt idx="614">1.1120068074364233</cx:pt>
          <cx:pt idx="615">1.0706243781736828</cx:pt>
          <cx:pt idx="616">1.0706243781736828</cx:pt>
          <cx:pt idx="617">1.8739871816501965</cx:pt>
          <cx:pt idx="618">1.9443881200239632</cx:pt>
          <cx:pt idx="619">1.9734800875392633</cx:pt>
          <cx:pt idx="620">2.0483405294850709</cx:pt>
          <cx:pt idx="621">2.0409780493306298</cx:pt>
          <cx:pt idx="622">2.4994623077688107</cx:pt>
          <cx:pt idx="623">2.7781791824669035</cx:pt>
          <cx:pt idx="624">2.811267651158746</cx:pt>
          <cx:pt idx="625">2.8020729653643577</cx:pt>
          <cx:pt idx="626">2.76732081915506</cx:pt>
          <cx:pt idx="627">2.7673208191550605</cx:pt>
          <cx:pt idx="628">2.8398091712353244</cx:pt>
          <cx:pt idx="629">2.9439202887759488</cx:pt>
          <cx:pt idx="630">3.0778431213383652</cx:pt>
          <cx:pt idx="631">3.0778431213383652</cx:pt>
          <cx:pt idx="632">3.0518811403171742</cx:pt>
          <cx:pt idx="633">3.0917858569031327</cx:pt>
          <cx:pt idx="634">3.096998199783521</cx:pt>
          <cx:pt idx="635">3.0858678917220828</cx:pt>
          <cx:pt idx="636">3.0501189823434123</cx:pt>
          <cx:pt idx="637">3.0921336197811127</cx:pt>
          <cx:pt idx="638">3.0303128054583293</cx:pt>
          <cx:pt idx="639">3.0561061739142112</cx:pt>
          <cx:pt idx="640">2.9928229562257491</cx:pt>
          <cx:pt idx="641">3.1632975852586527</cx:pt>
          <cx:pt idx="642">3.2338930897803411</cx:pt>
          <cx:pt idx="643">3.221900861493153</cx:pt>
          <cx:pt idx="644">3.1937438845342623</cx:pt>
          <cx:pt idx="645">3.1063583768765959</cx:pt>
          <cx:pt idx="646">3.0841251526144733</cx:pt>
          <cx:pt idx="647">3.0841251526144733</cx:pt>
          <cx:pt idx="648">3.0841251526144728</cx:pt>
          <cx:pt idx="649">3.0917858569031327</cx:pt>
          <cx:pt idx="650">3.1700886999564224</cx:pt>
          <cx:pt idx="651">3.1721231992780248</cx:pt>
          <cx:pt idx="652">3.1356431660053614</cx:pt>
          <cx:pt idx="653">3.166355389341649</cx:pt>
          <cx:pt idx="654">3.1397554866787059</cx:pt>
          <cx:pt idx="655">3.1397554866787059</cx:pt>
          <cx:pt idx="656">3.1184501251095393</cx:pt>
          <cx:pt idx="657">3.1486470895646046</cx:pt>
          <cx:pt idx="658">3.1486470895646046</cx:pt>
          <cx:pt idx="659">3.2112035060066262</cx:pt>
          <cx:pt idx="660">3.1819382745106326</cx:pt>
          <cx:pt idx="661">3.2474969683034023</cx:pt>
          <cx:pt idx="662">3.232895436481948</cx:pt>
          <cx:pt idx="663">3.232895436481948</cx:pt>
          <cx:pt idx="664">3.2902593289303055</cx:pt>
          <cx:pt idx="665">3.3033056105951277</cx:pt>
          <cx:pt idx="666">3.443554053028504</cx:pt>
          <cx:pt idx="667">3.4625492504552131</cx:pt>
          <cx:pt idx="668">3.4513516130625188</cx:pt>
          <cx:pt idx="669">3.3948094471996075</cx:pt>
          <cx:pt idx="670">3.3833876260276456</cx:pt>
          <cx:pt idx="671">3.3101343246629473</cx:pt>
          <cx:pt idx="672">3.2292347374025492</cx:pt>
          <cx:pt idx="673">3.1346142428715065</cx:pt>
          <cx:pt idx="674">3.0743475573242862</cx:pt>
          <cx:pt idx="675">3.0743475573242862</cx:pt>
          <cx:pt idx="676">3.1077426721221686</cx:pt>
          <cx:pt idx="677">3.1004682268661385</cx:pt>
          <cx:pt idx="678">3.023207724625709</cx:pt>
          <cx:pt idx="679">2.8867513459481291</cx:pt>
          <cx:pt idx="680">2.9108621196425455</cx:pt>
          <cx:pt idx="681">2.9108621196425455</cx:pt>
          <cx:pt idx="682">2.9409968319587492</cx:pt>
          <cx:pt idx="683">2.9439202887759488</cx:pt>
          <cx:pt idx="684">2.9942597412130865</cx:pt>
          <cx:pt idx="685">3.0561061739142112</cx:pt>
          <cx:pt idx="686">3.0561061739142112</cx:pt>
          <cx:pt idx="687">3.0655912092719722</cx:pt>
          <cx:pt idx="688">2.9888682361946528</cx:pt>
          <cx:pt idx="689">3.0487085226229778</cx:pt>
          <cx:pt idx="690">3.1383853118429226</cx:pt>
          <cx:pt idx="691">3.2142157357120453</cx:pt>
          <cx:pt idx="692">3.1163805860307319</cx:pt>
          <cx:pt idx="693">3.130151667629796</cx:pt>
          <cx:pt idx="694">3.0956090998258694</cx:pt>
          <cx:pt idx="695">3.0324410834723872</cx:pt>
          <cx:pt idx="696">3.0739977823009887</cx:pt>
          <cx:pt idx="697">2.9380704662271335</cx:pt>
          <cx:pt idx="698">2.9138158110363057</cx:pt>
          <cx:pt idx="699">2.9204506943388915</cx:pt>
          <cx:pt idx="700">2.9409968319587496</cx:pt>
          <cx:pt idx="701">2.7986171700531184</cx:pt>
          <cx:pt idx="702">2.8135616275919864</cx:pt>
          <cx:pt idx="703">2.7859092452161196</cx:pt>
          <cx:pt idx="704">2.9318422407645301</cx:pt>
          <cx:pt idx="705">3.0652404350607116</cx:pt>
          <cx:pt idx="706">3.0221405217715032</cx:pt>
          <cx:pt idx="707">3.003940064977745</cx:pt>
          <cx:pt idx="708">3.003940064977745</cx:pt>
          <cx:pt idx="709">3.0082324321088287</cx:pt>
          <cx:pt idx="710">3.0872613746974724</cx:pt>
          <cx:pt idx="711">3.0416464132482268</cx:pt>
          <cx:pt idx="712">2.9486647242292539</cx:pt>
          <cx:pt idx="713">2.9067958933491358</cx:pt>
          <cx:pt idx="714">2.8923332100312122</cx:pt>
          <cx:pt idx="715">2.8211947442433392</cx:pt>
          <cx:pt idx="716">2.7411637117515726</cx:pt>
          <cx:pt idx="717">2.5661150084435298</cx:pt>
          <cx:pt idx="718">2.6314883968575091</cx:pt>
          <cx:pt idx="719">2.5631801483934518</cx:pt>
          <cx:pt idx="720">2.5016123832698454</cx:pt>
          <cx:pt idx="721">2.3623389175328597</cx:pt>
          <cx:pt idx="722">2.4340770700197027</cx:pt>
          <cx:pt idx="723">2.510622593392247</cx:pt>
          <cx:pt idx="724">2.4955875038249635</cx:pt>
          <cx:pt idx="725">2.4813281216541734</cx:pt>
          <cx:pt idx="726">2.4813281216541734</cx:pt>
          <cx:pt idx="727">2.4323094030690382</cx:pt>
          <cx:pt idx="728">2.4543137358492895</cx:pt>
          <cx:pt idx="729">2.556038601690775</cx:pt>
          <cx:pt idx="730">2.6257615382806523</cx:pt>
          <cx:pt idx="731">2.7262168043859112</cx:pt>
          <cx:pt idx="732">2.7700394003641704</cx:pt>
          <cx:pt idx="733">2.7889952713577544</cx:pt>
          <cx:pt idx="734">2.8447272484861479</cx:pt>
          <cx:pt idx="735">2.7653773391631367</cx:pt>
          <cx:pt idx="736">2.7325202042558927</cx:pt>
          <cx:pt idx="737">2.8763028838371478</cx:pt>
          <cx:pt idx="738">2.9318422407645301</cx:pt>
          <cx:pt idx="739">2.8878685818846677</cx:pt>
          <cx:pt idx="740">3.0928290282279525</cx:pt>
          <cx:pt idx="741">3.2185617572055749</cx:pt>
          <cx:pt idx="742">3.2098638298924169</cx:pt>
          <cx:pt idx="743">3.263351400874781</cx:pt>
          <cx:pt idx="744">3.4291602157009575</cx:pt>
          <cx:pt idx="745">3.5668726701637796</cx:pt>
          <cx:pt idx="746">3.5626497327522348</cx:pt>
          <cx:pt idx="747">3.6094261301829285</cx:pt>
          <cx:pt idx="748">3.723797345005051</cx:pt>
          <cx:pt idx="749">3.6851926898454468</cx:pt>
          <cx:pt idx="750">3.6746735646110946</cx:pt>
          <cx:pt idx="751">3.6965546295208815</cx:pt>
          <cx:pt idx="752">3.6623630658096222</cx:pt>
          <cx:pt idx="753">3.5971912579450867</cx:pt>
          <cx:pt idx="754">3.5971912579450871</cx:pt>
          <cx:pt idx="755">3.5626497327522348</cx:pt>
          <cx:pt idx="756">3.5372062361402179</cx:pt>
          <cx:pt idx="757">3.5250257377234719</cx:pt>
          <cx:pt idx="758">3.4609961894887888</cx:pt>
          <cx:pt idx="759">3.4597532387611523</cx:pt>
          <cx:pt idx="760">3.4272783019678728</cx:pt>
          <cx:pt idx="761">3.3421389069154923</cx:pt>
          <cx:pt idx="762">3.3085097187615737</cx:pt>
          <cx:pt idx="763">3.2128773156099961</cx:pt>
          <cx:pt idx="764">3.2128773156099957</cx:pt>
          <cx:pt idx="765">3.2018140019722892</cx:pt>
          <cx:pt idx="766">3.1816003276906564</cx:pt>
          <cx:pt idx="767">3.3205129801903959</cx:pt>
          <cx:pt idx="768">3.3205129801903959</cx:pt>
          <cx:pt idx="769">3.2817514337801823</cx:pt>
          <cx:pt idx="770">3.2817514337801823</cx:pt>
          <cx:pt idx="771">3.2182276562281658</cx:pt>
          <cx:pt idx="772">3.1666949630880636</cx:pt>
          <cx:pt idx="773">3.1802481812939782</cx:pt>
          <cx:pt idx="774">3.1802481812939782</cx:pt>
          <cx:pt idx="775">3.0896984576394808</cx:pt>
          <cx:pt idx="776">2.994977875230179</cx:pt>
          <cx:pt idx="777">2.9413624229641959</cx:pt>
          <cx:pt idx="778">3.0391707980607054</cx:pt>
          <cx:pt idx="779">2.9413624229641955</cx:pt>
          <cx:pt idx="780">2.873684832428399</cx:pt>
          <cx:pt idx="781">2.8363993531099565</cx:pt>
          <cx:pt idx="782">2.8363993531099565</cx:pt>
          <cx:pt idx="783">2.9726350498816614</cx:pt>
          <cx:pt idx="784">3.0427067745888752</cx:pt>
          <cx:pt idx="785">2.9863488694210645</cx:pt>
          <cx:pt idx="786">3.0610280092018569</cx:pt>
          <cx:pt idx="787">3.1714451778533133</cx:pt>
          <cx:pt idx="788">3.1819382745106326</cx:pt>
          <cx:pt idx="789">3.1711061127774682</cx:pt>
          <cx:pt idx="790">3.2008063500190986</cx:pt>
          <cx:pt idx="791">3.1913862562465138</cx:pt>
          <cx:pt idx="792">3.2498138904529053</cx:pt>
          <cx:pt idx="793">3.2938522076121441</cx:pt>
          <cx:pt idx="794">3.2938522076121441</cx:pt>
          <cx:pt idx="795">3.1728010758108782</cx:pt>
          <cx:pt idx="796">3.2118731345210483</cx:pt>
          <cx:pt idx="797">3.2038283551139659</cx:pt>
          <cx:pt idx="798">3.0994276266599972</cx:pt>
          <cx:pt idx="799">3.0107334868819362</cx:pt>
          <cx:pt idx="800">2.9856286598677433</cx:pt>
          <cx:pt idx="801">2.9023535129233484</cx:pt>
          <cx:pt idx="802">2.9023535129233484</cx:pt>
          <cx:pt idx="803">2.8189069795117021</cx:pt>
          <cx:pt idx="804">2.78745268535957</cx:pt>
          <cx:pt idx="805">2.6187906590884729</cx:pt>
          <cx:pt idx="806">2.7532971436607276</cx:pt>
          <cx:pt idx="807">2.8424584240535729</cx:pt>
          <cx:pt idx="808">2.8993881445752012</cx:pt>
          <cx:pt idx="809">2.8089718013260949</cx:pt>
          <cx:pt idx="810">2.8089718013260945</cx:pt>
          <cx:pt idx="811">2.8341238618867961</cx:pt>
          <cx:pt idx="812">2.8341238618867961</cx:pt>
          <cx:pt idx="813">2.8567972141159492</cx:pt>
          <cx:pt idx="814">2.8089718013260945</cx:pt>
          <cx:pt idx="815">2.7202941017470885</cx:pt>
          <cx:pt idx="816">2.7920778865803833</cx:pt>
          <cx:pt idx="817">2.6920831762701893</cx:pt>
          <cx:pt idx="818">2.6449383593443501</cx:pt>
          <cx:pt idx="819">2.6449383593443501</cx:pt>
          <cx:pt idx="820">2.7384164641600433</cx:pt>
          <cx:pt idx="821">2.8515228906145791</cx:pt>
          <cx:pt idx="822">2.8601827146688241</cx:pt>
          <cx:pt idx="823">2.7529065773570873</cx:pt>
          <cx:pt idx="824">2.7175257563745623</cx:pt>
          <cx:pt idx="825">2.8269060560022807</cx:pt>
          <cx:pt idx="826">2.8386730202911781</cx:pt>
          <cx:pt idx="827">2.8150899066984882</cx:pt>
          <cx:pt idx="828">2.9119701050102011</cx:pt>
          <cx:pt idx="829">3.0185804539533558</cx:pt>
          <cx:pt idx="830">3.0185804539533558</cx:pt>
          <cx:pt idx="831">3.0627838907259393</cx:pt>
          <cx:pt idx="832">3.1799100548583521</cx:pt>
          <cx:pt idx="833">3.1799100548583521</cx:pt>
          <cx:pt idx="834">3.1799100548583521</cx:pt>
          <cx:pt idx="835">3.1873405505132708</cx:pt>
          <cx:pt idx="836">3.2951577376703889</cx:pt>
          <cx:pt idx="837">3.189026884978909</cx:pt>
          <cx:pt idx="838">3.0416464132482268</cx:pt>
          <cx:pt idx="839">3.166355389341649</cx:pt>
          <cx:pt idx="840">3.2554338362752198</cx:pt>
          <cx:pt idx="841">3.2188958235054215</cx:pt>
          <cx:pt idx="842">3.3042820052005957</cx:pt>
          <cx:pt idx="843">3.3052581113728023</cx:pt>
          <cx:pt idx="844">3.2961365458718879</cx:pt>
          <cx:pt idx="845">3.2494830027169308</cx:pt>
          <cx:pt idx="846">3.2511371046325128</cx:pt>
          <cx:pt idx="847">3.2232355346496102</cx:pt>
          <cx:pt idx="848">3.3243966224302723</cx:pt>
          <cx:pt idx="849">3.3243966224302723</cx:pt>
          <cx:pt idx="850">3.3450332303024966</cx:pt>
          <cx:pt idx="851">3.2840441891909951</cx:pt>
          <cx:pt idx="852">3.3101343246629478</cx:pt>
          <cx:pt idx="853">3.3260134683127562</cx:pt>
          <cx:pt idx="854">3.3414953834846841</cx:pt>
          <cx:pt idx="855">3.4077710054823895</cx:pt>
          <cx:pt idx="856">3.4485465225627405</cx:pt>
          <cx:pt idx="857">3.519836262076399</cx:pt>
          <cx:pt idx="858">3.5858143449053572</cx:pt>
          <cx:pt idx="859">3.5514649408105461</cx:pt>
          <cx:pt idx="860">3.4140758600966419</cx:pt>
          <cx:pt idx="861">3.4435540530285036</cx:pt>
          <cx:pt idx="862">3.4140758600966419</cx:pt>
          <cx:pt idx="863">3.26993472691422</cx:pt>
          <cx:pt idx="864">3.1561511881690087</cx:pt>
          <cx:pt idx="865">3.3143545731498216</cx:pt>
          <cx:pt idx="866">3.2801127701568795</cx:pt>
          <cx:pt idx="867">3.2232355346496098</cx:pt>
          <cx:pt idx="868">3.2232355346496098</cx:pt>
          <cx:pt idx="869">3.1903753107833444</cx:pt>
          <cx:pt idx="870">3.1469391170551133</cx:pt>
          <cx:pt idx="871">3.1191396663286048</cx:pt>
          <cx:pt idx="872">3.1987900938505054</cx:pt>
          <cx:pt idx="873">3.1517191076194169</cx:pt>
          <cx:pt idx="874">3.1342711934321343</cx:pt>
          <cx:pt idx="875">3.0437667665299615</cx:pt>
          <cx:pt idx="876">3.052585718680553</cx:pt>
          <cx:pt idx="877">3.1598965547244009</cx:pt>
          <cx:pt idx="878">3.1609172481199774</cx:pt>
          <cx:pt idx="879">3.0075174630120736</cx:pt>
          <cx:pt idx="880">3.0075174630120745</cx:pt>
          <cx:pt idx="881">3.1421518549506628</cx:pt>
          <cx:pt idx="882">3.1592159092550673</cx:pt>
          <cx:pt idx="883">3.119139666328604</cx:pt>
          <cx:pt idx="884">3.1136190608219847</cx:pt>
          <cx:pt idx="885">3.2285687098122131</cx:pt>
          <cx:pt idx="886">3.2285687098122127</cx:pt>
          <cx:pt idx="887">3.1136190608219847</cx:pt>
          <cx:pt idx="888">3.0627838907259393</cx:pt>
          <cx:pt idx="889">2.9881486338642054</cx:pt>
          <cx:pt idx="890">2.9664793948382653</cx:pt>
          <cx:pt idx="891">2.9881486338642054</cx:pt>
          <cx:pt idx="892">2.9519448664606962</cx:pt>
          <cx:pt idx="893">2.9519448664606962</cx:pt>
          <cx:pt idx="894">3.042353361872125</cx:pt>
          <cx:pt idx="895">3.1452302170555928</cx:pt>
          <cx:pt idx="896">3.0480030480045723</cx:pt>
          <cx:pt idx="897">3.0596225784532067</cx:pt>
          <cx:pt idx="898">3.1004682268661377</cx:pt>
          <cx:pt idx="899">3.1377000000514039</cx:pt>
          <cx:pt idx="900">3.2348904353984325</cx:pt>
          <cx:pt idx="901">3.1981177259830997</cx:pt>
          <cx:pt idx="902">3.1673740013639256</cx:pt>
          <cx:pt idx="903">3.0813347198761094</cx:pt>
          <cx:pt idx="904">3.0813347198761094</cx:pt>
          <cx:pt idx="905">3.0952617274295759</cx:pt>
          <cx:pt idx="906">3.2098638298924165</cx:pt>
          <cx:pt idx="907">3.3101343246629482</cx:pt>
          <cx:pt idx="908">3.2299006276534459</cx:pt>
          <cx:pt idx="909">3.3437471736496946</cx:pt>
          <cx:pt idx="910">3.4228831461588145</cx:pt>
          <cx:pt idx="911">3.3760701210676287</cx:pt>
          <cx:pt idx="912">3.2421949289006742</cx:pt>
          <cx:pt idx="913">3.2305663806498304</cx:pt>
          <cx:pt idx="914">3.1394129990325617</cx:pt>
          <cx:pt idx="915">3.1619376120293063</cx:pt>
          <cx:pt idx="916">3.0917858569031327</cx:pt>
          <cx:pt idx="917">2.9985659655012373</cx:pt>
          <cx:pt idx="918">3.0171552506378609</cx:pt>
          <cx:pt idx="919">3.0869130629262163</cx:pt>
          <cx:pt idx="920">3.1632975852586531</cx:pt>
          <cx:pt idx="921">3.2801127701568795</cx:pt>
          <cx:pt idx="922">3.2850263087930314</cx:pt>
          <cx:pt idx="923">3.2817514337801819</cx:pt>
          <cx:pt idx="924">3.2817514337801819</cx:pt>
          <cx:pt idx="925">3.1513779201642773</cx:pt>
          <cx:pt idx="926">3.1513779201642773</cx:pt>
          <cx:pt idx="927">3.2122078964308134</cx:pt>
          <cx:pt idx="928">3.2702635453299447</cx:pt>
          <cx:pt idx="929">3.3137056539907586</cx:pt>
          <cx:pt idx="930">3.2567547670807548</cx:pt>
          <cx:pt idx="931">3.2408680637217575</cx:pt>
          <cx:pt idx="932">3.3849762947661892</cx:pt>
          <cx:pt idx="933">3.3849762947661888</cx:pt>
          <cx:pt idx="934">3.3849762947661888</cx:pt>
          <cx:pt idx="935">3.2830617757903848</cx:pt>
          <cx:pt idx="936">3.3305364610344035</cx:pt>
          <cx:pt idx="937">3.2643397461806307</cx:pt>
          <cx:pt idx="938">3.1325553827197461</cx:pt>
          <cx:pt idx="939">3.1132736979391273</cx:pt>
          <cx:pt idx="940">3.0096618607626064</cx:pt>
          <cx:pt idx="941">3.0096618607626069</cx:pt>
          <cx:pt idx="942">3.166355389341649</cx:pt>
          <cx:pt idx="943">3.1575136536709199</cx:pt>
          <cx:pt idx="944">3.2974411715100991</cx:pt>
          <cx:pt idx="945">3.2797849391860789</cx:pt>
          <cx:pt idx="946">3.1987900938505054</cx:pt>
          <cx:pt idx="947">3.1527424484465203</cx:pt>
          <cx:pt idx="948">3.2679611216281512</cx:pt>
          <cx:pt idx="949">3.3856115535303002</cx:pt>
          <cx:pt idx="950">3.3856115535303002</cx:pt>
          <cx:pt idx="951">3.338597993041359</cx:pt>
          <cx:pt idx="952">3.2902593289303055</cx:pt>
          <cx:pt idx="953">3.3344084287760061</cx:pt>
          <cx:pt idx="954">3.2699347269142196</cx:pt>
          <cx:pt idx="955">3.3075345721906757</cx:pt>
          <cx:pt idx="956">3.3703322959236881</cx:pt>
          <cx:pt idx="957">3.2961365458718879</cx:pt>
          <cx:pt idx="958">3.2781452925609913</cx:pt>
          <cx:pt idx="959">3.188352458221873</cx:pt>
          <cx:pt idx="960">3.1462556684387226</cx:pt>
          <cx:pt idx="961">3.2259032243548824</cx:pt>
          <cx:pt idx="962">3.2428581578999207</cx:pt>
          <cx:pt idx="963">3.1772037479384259</cx:pt>
          <cx:pt idx="964">3.1421518549506633</cx:pt>
          <cx:pt idx="965">3.2577451136954307</cx:pt>
          <cx:pt idx="966">3.3642650861506844</cx:pt>
          <cx:pt idx="967">3.3075345721906757</cx:pt>
          <cx:pt idx="968">3.4609961894887884</cx:pt>
          <cx:pt idx="969">3.4609961894887884</cx:pt>
          <cx:pt idx="970">3.4516631490664982</cx:pt>
          <cx:pt idx="971">3.5155568243090936</cx:pt>
          <cx:pt idx="972">3.5155568243090936</cx:pt>
          <cx:pt idx="973">3.4529090120015167</cx:pt>
          <cx:pt idx="974">3.5466173494832955</cx:pt>
          <cx:pt idx="975">3.4628597790644613</cx:pt>
          <cx:pt idx="976">3.5560035560053342</cx:pt>
          <cx:pt idx="977">3.6420483424897392</cx:pt>
          <cx:pt idx="978">3.6854844591891487</cx:pt>
          <cx:pt idx="979">3.6141894791775728</cx:pt>
          <cx:pt idx="980">3.5042217242168228</cx:pt>
          <cx:pt idx="981">3.5042217242168228</cx:pt>
          <cx:pt idx="982">3.4746393020815689</cx:pt>
          <cx:pt idx="983">3.4222548059706561</cx:pt>
          <cx:pt idx="984">3.3995572134193925</cx:pt>
          <cx:pt idx="985">3.5115783909374607</cx:pt>
          <cx:pt idx="986">3.4805141135504183</cx:pt>
          <cx:pt idx="987">3.5158626711776795</cx:pt>
          <cx:pt idx="988">3.5942008249251276</cx:pt>
          <cx:pt idx="989">3.6328844548602963</cx:pt>
          <cx:pt idx="990">3.6417530931404256</cx:pt>
          <cx:pt idx="991">3.7255294781377217</cx:pt>
          <cx:pt idx="992">3.7677179996293764</cx:pt>
          <cx:pt idx="993">3.7677179996293764</cx:pt>
          <cx:pt idx="994">3.7448172070180532</cx:pt>
          <cx:pt idx="995">3.7327380477785117</cx:pt>
          <cx:pt idx="996">3.7725665089586058</cx:pt>
          <cx:pt idx="997">3.7416573867739413</cx:pt>
          <cx:pt idx="998">3.7324499722968727</cx:pt>
          <cx:pt idx="999">3.6644176876070378</cx:pt>
          <cx:pt idx="1000">3.6308119889254429</cx:pt>
          <cx:pt idx="1001">3.6064458422251713</cx:pt>
          <cx:pt idx="1002">3.5716927705657753</cx:pt>
          <cx:pt idx="1003">3.4925419771801729</cx:pt>
          <cx:pt idx="1004">3.5828144160401254</cx:pt>
          <cx:pt idx="1005">3.5372062361402188</cx:pt>
          <cx:pt idx="1006">3.6441144181368843</cx:pt>
          <cx:pt idx="1007">3.6441144181368843</cx:pt>
          <cx:pt idx="1008">3.5786102907278443</cx:pt>
          <cx:pt idx="1009">3.5435842373664301</cx:pt>
          <cx:pt idx="1010">3.5435842373664301</cx:pt>
          <cx:pt idx="1011">3.6275528645281296</cx:pt>
          <cx:pt idx="1012">3.5192252324281745</cx:pt>
          <cx:pt idx="1013">3.6073401871470976</cx:pt>
          <cx:pt idx="1014">3.5623479028086464</cx:pt>
          <cx:pt idx="1015">3.5623479028086464</cx:pt>
          <cx:pt idx="1016">3.3935422543793479</cx:pt>
          <cx:pt idx="1017">3.3205129801903963</cx:pt>
          <cx:pt idx="1018">3.2860081348599235</cx:pt>
          <cx:pt idx="1019">3.1073966561246449</cx:pt>
          <cx:pt idx="1020">3.1073966561246449</cx:pt>
          <cx:pt idx="1021">3.0753966437077729</cx:pt>
          <cx:pt idx="1022">3.0203610123892952</cx:pt>
          <cx:pt idx="1023">2.8564207996978035</cx:pt>
          <cx:pt idx="1024">2.7214796734319413</cx:pt>
          <cx:pt idx="1025">2.6518405051051097</cx:pt>
          <cx:pt idx="1026">2.5961095790117485</cx:pt>
          <cx:pt idx="1027">2.5476111517743769</cx:pt>
          <cx:pt idx="1028">2.5421183275760093</cx:pt>
          <cx:pt idx="1029">2.5230123657741865</cx:pt>
          <cx:pt idx="1030">2.5421183275760093</cx:pt>
          <cx:pt idx="1031">2.5344932262640794</cx:pt>
          <cx:pt idx="1032">2.4384906313414016</cx:pt>
          <cx:pt idx="1033">2.4450960356713831</cx:pt>
          <cx:pt idx="1034">2.4327514402199966</cx:pt>
          <cx:pt idx="1035">2.4327514402199961</cx:pt>
          <cx:pt idx="1036">2.1220805372208682</cx:pt>
          <cx:pt idx="1037">1.5780755940845035</cx:pt>
          <cx:pt idx="1038">1.5780755940845035</cx:pt>
          <cx:pt idx="1039">1.4940743169321027</cx:pt>
          <cx:pt idx="1040">1.4591203713417611</cx:pt>
          <cx:pt idx="1041">0.95602222496323586</cx:pt>
          <cx:pt idx="1042">0.95602222496323586</cx:pt>
          <cx:pt idx="1043">0.98045414098806527</cx:pt>
          <cx:pt idx="1044">0.92166282641289066</cx:pt>
          <cx:pt idx="1045">0.92166282641289066</cx:pt>
          <cx:pt idx="1046">0.90755490962172358</cx:pt>
          <cx:pt idx="1047">0.90755490962172358</cx:pt>
          <cx:pt idx="1048">0.96942505962893244</cx:pt>
          <cx:pt idx="1049">0.96942505962893244</cx:pt>
          <cx:pt idx="1050">0.97825827229409523</cx:pt>
          <cx:pt idx="1051">0.97825827229409523</cx:pt>
          <cx:pt idx="1052">0.97825827229409534</cx:pt>
          <cx:pt idx="1053">0.99136052923481455</cx:pt>
          <cx:pt idx="1054">0.99136052923481455</cx:pt>
          <cx:pt idx="1055">1.6111172908051052</cx:pt>
          <cx:pt idx="1056">1.5990588629915499</cx:pt>
          <cx:pt idx="1057">2.0229861883561067</cx:pt>
          <cx:pt idx="1058">2.1266359926327989</cx:pt>
          <cx:pt idx="1059">2.3477282545024769</cx:pt>
          <cx:pt idx="1060">2.3831848212996656</cx:pt>
          <cx:pt idx="1061">2.3659774855998932</cx:pt>
          <cx:pt idx="1062">2.4158971707804429</cx:pt>
          <cx:pt idx="1063">2.6502180880030415</cx:pt>
          <cx:pt idx="1064">2.6265804254168184</cx:pt>
          <cx:pt idx="1065">2.6323055024188426</cx:pt>
          <cx:pt idx="1066">2.5753170803837198</cx:pt>
          <cx:pt idx="1067">2.6635734748480244</cx:pt>
          <cx:pt idx="1068">2.6732445752567768</cx:pt>
          <cx:pt idx="1069">2.7187125352751749</cx:pt>
          <cx:pt idx="1070">2.754078110104929</cx:pt>
          <cx:pt idx="1071">2.8215758580234285</cx:pt>
          <cx:pt idx="1072">2.9005005129815875</cx:pt>
          <cx:pt idx="1073">2.9152915345095063</cx:pt>
          <cx:pt idx="1074">2.9592210541478363</cx:pt>
          <cx:pt idx="1075">2.9881486338642049</cx:pt>
          <cx:pt idx="1076">2.9635781918020538</cx:pt>
          <cx:pt idx="1077">2.9406311955015694</cx:pt>
          <cx:pt idx="1078">2.9899473149600078</cx:pt>
          <cx:pt idx="1079">3.0645387661869075</cx:pt>
          <cx:pt idx="1080">3.2061768342487165</cx:pt>
          <cx:pt idx="1081">3.2289017407801226</cx:pt>
          <cx:pt idx="1082">3.3033056105951273</cx:pt>
          <cx:pt idx="1083">3.2494830027169304</cx:pt>
          <cx:pt idx="1084">3.184302898003982</cx:pt>
          <cx:pt idx="1085">3.1448883256238465</cx:pt>
          <cx:pt idx="1086">3.1694102432980462</cx:pt>
          <cx:pt idx="1087">3.1469391170551124</cx:pt>
          <cx:pt idx="1088">3.1056659978694716</cx:pt>
          <cx:pt idx="1089">3.1194843797812042</cx:pt>
          <cx:pt idx="1090">3.0928290282279525</cx:pt>
          <cx:pt idx="1091">3.1084345885667033</cx:pt>
          <cx:pt idx="1092">3.1700886999564224</cx:pt>
          <cx:pt idx="1093">3.1700886999564224</cx:pt>
          <cx:pt idx="1094">3.0603253745066814</cx:pt>
          <cx:pt idx="1095">3.0767948691238205</cx:pt>
          <cx:pt idx="1096">3.0767948691238205</cx:pt>
          <cx:pt idx="1097">3.0711981480386652</cx:pt>
          <cx:pt idx="1098">3.041292877312443</cx:pt>
          <cx:pt idx="1099">3.0342135081274728</cx:pt>
          <cx:pt idx="1100">3.0515287901295061</cx:pt>
          <cx:pt idx="1101">3.1748338369862954</cx:pt>
          <cx:pt idx="1102">3.0862163214518366</cx:pt>
          <cx:pt idx="1103">3.0462386466711902</cx:pt>
          <cx:pt idx="1104">3.1592159092550673</cx:pt>
          <cx:pt idx="1105">3.1387279116269067</cx:pt>
          <cx:pt idx="1106">3.1025483802211538</cx:pt>
          <cx:pt idx="1107">3.1042807765704676</cx:pt>
          <cx:pt idx="1108">3.1239621932645463</cx:pt>
          <cx:pt idx="1109">3.1575136536709194</cx:pt>
          <cx:pt idx="1110">3.0416464132482273</cx:pt>
          <cx:pt idx="1111">2.8631886878732935</cx:pt>
          <cx:pt idx="1112">2.975888771189982</cx:pt>
          <cx:pt idx="1113">2.9071657853011761</cx:pt>
          <cx:pt idx="1114">2.976250076208153</cx:pt>
          <cx:pt idx="1115">3.1067045085147389</cx:pt>
          <cx:pt idx="1116">3.313705653990759</cx:pt>
          <cx:pt idx="1117">3.2567547670807548</cx:pt>
          <cx:pt idx="1118">3.2567547670807548</cx:pt>
          <cx:pt idx="1119">3.3935422543793483</cx:pt>
          <cx:pt idx="1120">3.5277700166426071</cx:pt>
          <cx:pt idx="1121">3.4724723924214334</cx:pt>
          <cx:pt idx="1122">3.4946964425835976</cx:pt>
          <cx:pt idx="1123">3.5011518841845515</cx:pt>
          <cx:pt idx="1124">3.4096636859979177</cx:pt>
          <cx:pt idx="1125">3.4541544255720424</cx:pt>
          <cx:pt idx="1126">3.4541544255720424</cx:pt>
          <cx:pt idx="1127">3.4974645194077558</cx:pt>
          <cx:pt idx="1128">3.4974645194077558</cx:pt>
          <cx:pt idx="1129">3.5716927705657753</cx:pt>
          <cx:pt idx="1130">3.572896779624267</cx:pt>
          <cx:pt idx="1131">3.4553993902639619</cx:pt>
          <cx:pt idx="1132">3.4247674750360098</cx:pt>
          <cx:pt idx="1133">3.3862466931200785</cx:pt>
          <cx:pt idx="1134">3.4247674750360098</cx:pt>
          <cx:pt idx="1135">3.4247674750360093</cx:pt>
          <cx:pt idx="1136">3.3562652054079787</cx:pt>
          <cx:pt idx="1137">3.4360517477045112</cx:pt>
          <cx:pt idx="1138">3.41281582098375</cx:pt>
          <cx:pt idx="1139">3.5170857926866499</cx:pt>
          <cx:pt idx="1140">3.4329209481954486</cx:pt>
          <cx:pt idx="1141">3.4014544643605449</cx:pt>
          <cx:pt idx="1142">3.2636808825658497</cx:pt>
          <cx:pt idx="1143">3.2931992485002457</cx:pt>
          <cx:pt idx="1144">3.3337634131149221</cx:pt>
          <cx:pt idx="1145">3.2804405683658779</cx:pt>
          <cx:pt idx="1146">3.2527903654078787</cx:pt>
          <cx:pt idx="1147">3.2235691165945815</cx:pt>
          <cx:pt idx="1148">3.1575136536709194</cx:pt>
          <cx:pt idx="1149">3.1274023024373312</cx:pt>
          <cx:pt idx="1150">3.0641878714967778</cx:pt>
          <cx:pt idx="1151">2.9646664756474639</cx:pt>
          <cx:pt idx="1152">2.9646664756474639</cx:pt>
          <cx:pt idx="1153">3.0299579471158213</cx:pt>
          <cx:pt idx="1154">3.0299579471158213</cx:pt>
          <cx:pt idx="1155">3.1025483802211538</cx:pt>
          <cx:pt idx="1156">3.0655912092719722</cx:pt>
          <cx:pt idx="1157">3.1184501251095398</cx:pt>
          <cx:pt idx="1158">3.160577053613463</cx:pt>
          <cx:pt idx="1159">3.181938274510633</cx:pt>
          <cx:pt idx="1160">3.0704978406192232</cx:pt>
          <cx:pt idx="1161">3.087261374697472</cx:pt>
          <cx:pt idx="1162">3.1588755315231896</cx:pt>
          <cx:pt idx="1163">3.2541123692687624</cx:pt>
          <cx:pt idx="1164">3.2699347269142196</cx:pt>
          <cx:pt idx="1165">3.274863536515026</cx:pt>
          <cx:pt idx="1166">3.17686529747164</cx:pt>
          <cx:pt idx="1167">3.2318974752183247</cx:pt>
          <cx:pt idx="1168">3.2817514337801823</cx:pt>
          <cx:pt idx="1169">3.3363427275534696</cx:pt>
          <cx:pt idx="1170">3.2222345816102105</cx:pt>
          <cx:pt idx="1171">3.2222345816102105</cx:pt>
          <cx:pt idx="1172">3.2659863237109041</cx:pt>
          <cx:pt idx="1173">3.2659863237109041</cx:pt>
          <cx:pt idx="1174">3.2034927175503074</cx:pt>
          <cx:pt idx="1175">3.1301516676297969</cx:pt>
          <cx:pt idx="1176">3.1883524582218725</cx:pt>
          <cx:pt idx="1177">3.1448883256238469</cx:pt>
          <cx:pt idx="1178">3.1035879340718098</cx:pt>
          <cx:pt idx="1179">3.1035879340718098</cx:pt>
          <cx:pt idx="1180">3.1592159092550673</cx:pt>
          <cx:pt idx="1181">3.1660157791739598</cx:pt>
          <cx:pt idx="1182">3.1930704540819614</cx:pt>
          <cx:pt idx="1183">3.313705653990759</cx:pt>
          <cx:pt idx="1184">3.313705653990759</cx:pt>
          <cx:pt idx="1185">3.2804405683658779</cx:pt>
          <cx:pt idx="1186">3.2951577376703893</cx:pt>
          <cx:pt idx="1187">3.2941786386329754</cx:pt>
          <cx:pt idx="1188">3.1431783106392679</cx:pt>
          <cx:pt idx="1189">3.011090610836324</cx:pt>
          <cx:pt idx="1190">3.0274727740888867</cx:pt>
          <cx:pt idx="1191">2.8833970407530867</cx:pt>
          <cx:pt idx="1192">2.9614004243125041</cx:pt>
          <cx:pt idx="1193">2.9614004243125041</cx:pt>
          <cx:pt idx="1194">2.9409968319587496</cx:pt>
          <cx:pt idx="1195">2.8815318506745009</cx:pt>
          <cx:pt idx="1196">2.9186091841650312</cx:pt>
          <cx:pt idx="1197">2.9186091841650312</cx:pt>
          <cx:pt idx="1198">2.8070571587470603</cx:pt>
          <cx:pt idx="1199">2.8150899066984887</cx:pt>
          <cx:pt idx="1200">2.8680666748897079</cx:pt>
          <cx:pt idx="1201">2.9082751788867984</cx:pt>
          <cx:pt idx="1202">2.9082751788867984</cx:pt>
          <cx:pt idx="1203">2.8967909571562758</cx:pt>
          <cx:pt idx="1204">2.8348825619035698</cx:pt>
          <cx:pt idx="1205">2.8135616275919859</cx:pt>
          <cx:pt idx="1206">2.8208135789718245</cx:pt>
          <cx:pt idx="1207">2.517892957660544</cx:pt>
          <cx:pt idx="1208">2.512763119480955</cx:pt>
          <cx:pt idx="1209">2.5059069999649064</cx:pt>
          <cx:pt idx="1210">2.4748194242804269</cx:pt>
          <cx:pt idx="1211">2.4600026226054728</cx:pt>
          <cx:pt idx="1212">2.3334869381084133</cx:pt>
          <cx:pt idx="1213">2.0991549759136956</cx:pt>
          <cx:pt idx="1214">2.065070490087991</cx:pt>
          <cx:pt idx="1215">2.0929990829645209</cx:pt>
          <cx:pt idx="1216">2.1042711301653387</cx:pt>
          <cx:pt idx="1217">2.065070490087991</cx:pt>
          <cx:pt idx="1218">2.0991549759136956</cx:pt>
          <cx:pt idx="1219">1.9821786645165247</cx:pt>
          <cx:pt idx="1220">2.008048322256248</cx:pt>
          <cx:pt idx="1221">2.0165977949672231</cx:pt>
          <cx:pt idx="1222">2.0165977949672231</cx:pt>
          <cx:pt idx="1223">1.9892182502962881</cx:pt>
          <cx:pt idx="1224">1.9956942899464154</cx:pt>
          <cx:pt idx="1225">1.7876517906827323</cx:pt>
          <cx:pt idx="1226">1.813924634775425</cx:pt>
          <cx:pt idx="1227">1.8062019796794171</cx:pt>
          <cx:pt idx="1228">1.7652560812125986</cx:pt>
          <cx:pt idx="1229">1.7388662725978936</cx:pt>
          <cx:pt idx="1230">1.4919136877222159</cx:pt>
          <cx:pt idx="1231">1.1216347516589491</cx:pt>
          <cx:pt idx="1232">1.1158679538021425</cx:pt>
          <cx:pt idx="1233">1.1158679538021423</cx:pt>
          <cx:pt idx="1234">1.0905261628351504</cx:pt>
          <cx:pt idx="1235">1.0905261628351504</cx:pt>
          <cx:pt idx="1236">1.0905261628351504</cx:pt>
          <cx:pt idx="1237">1.1216347516589491</cx:pt>
          <cx:pt idx="1238">1.1216347516589491</cx:pt>
          <cx:pt idx="1239">1.1216347516589491</cx:pt>
          <cx:pt idx="1240">1.1216347516589491</cx:pt>
          <cx:pt idx="1241">1.0915117266719427</cx:pt>
          <cx:pt idx="1242">1.0915117266719427</cx:pt>
          <cx:pt idx="1243">1.0915117266719427</cx:pt>
          <cx:pt idx="1244">1.0905261628351506</cx:pt>
          <cx:pt idx="1245">1.0605334425635524</cx:pt>
          <cx:pt idx="1246">1.0574873852167088</cx:pt>
          <cx:pt idx="1247">1.5581902930153659</cx:pt>
          <cx:pt idx="1248">1.5726151085277964</cx:pt>
          <cx:pt idx="1249">1.5436306873487362</cx:pt>
          <cx:pt idx="1250">1.7026228975268705</cx:pt>
          <cx:pt idx="1251">1.6720343670903364</cx:pt>
          <cx:pt idx="1252">2.1840083500569034</cx:pt>
          <cx:pt idx="1253">2.1815452745579762</cx:pt>
          <cx:pt idx="1254">2.1992178472777417</cx:pt>
          <cx:pt idx="1255">2.5011825160300925</cx:pt>
          <cx:pt idx="1256">2.4856577849044128</cx:pt>
          <cx:pt idx="1257">2.472646051221981</cx:pt>
          <cx:pt idx="1258">2.70801280154532</cx:pt>
          <cx:pt idx="1259">2.8451052099903049</cx:pt>
          <cx:pt idx="1260">3.0645387661869066</cx:pt>
          <cx:pt idx="1261">3.0980396160097099</cx:pt>
          <cx:pt idx="1262">3.0886542289865599</cx:pt>
          <cx:pt idx="1263">3.275520150764534</cx:pt>
          <cx:pt idx="1264">3.3013519550606527</cx:pt>
          <cx:pt idx="1265">3.3684175155612444</cx:pt>
          <cx:pt idx="1266">3.4046141997974408</cx:pt>
          <cx:pt idx="1267">3.3285987881499208</cx:pt>
          <cx:pt idx="1268">3.2155535987192874</cx:pt>
          <cx:pt idx="1269">3.1721231992780248</cx:pt>
          <cx:pt idx="1270">3.12980812906018</cx:pt>
          <cx:pt idx="1271">3.1673740013639256</cx:pt>
          <cx:pt idx="1272">3.0952617274295759</cx:pt>
          <cx:pt idx="1273">3.2118731345210487</cx:pt>
          <cx:pt idx="1274">3.1274023024373316</cx:pt>
          <cx:pt idx="1275">3.2155535987192874</cx:pt>
          <cx:pt idx="1276">3.136328927230839</cx:pt>
          <cx:pt idx="1277">3.166355389341649</cx:pt>
          <cx:pt idx="1278">3.2653277923353805</cx:pt>
          <cx:pt idx="1279">3.3712892782805599</cx:pt>
          <cx:pt idx="1280">3.4150205843300347</cx:pt>
          <cx:pt idx="1281">3.4879207843426516</cx:pt>
          <cx:pt idx="1282">3.5118845842842465</cx:pt>
          <cx:pt idx="1283">3.3935422543793479</cx:pt>
          <cx:pt idx="1284">3.4681345114120519</cx:pt>
          <cx:pt idx="1285">3.532643470897272</cx:pt>
          <cx:pt idx="1286">3.4513516130625188</cx:pt>
          <cx:pt idx="1287">3.5692835340214373</cx:pt>
          <cx:pt idx="1288">3.6467690811433058</cx:pt>
          <cx:pt idx="1289">3.6141894791775728</cx:pt>
          <cx:pt idx="1290">3.6467690811433058</cx:pt>
          <cx:pt idx="1291">3.5906090177405248</cx:pt>
          <cx:pt idx="1292">3.6311081279079449</cx:pt>
          <cx:pt idx="1293">3.6311081279079449</cx:pt>
          <cx:pt idx="1294">3.5033010546582908</cx:pt>
          <cx:pt idx="1295">3.4541544255720424</cx:pt>
          <cx:pt idx="1296">3.3440687341806732</cx:pt>
          <cx:pt idx="1297">3.2856808921030645</cx:pt>
          <cx:pt idx="1298">3.2362197514337452</cx:pt>
          <cx:pt idx="1299">3.3665016461206929</cx:pt>
          <cx:pt idx="1300">3.3658627806350818</cx:pt>
          <cx:pt idx="1301">3.3440687341806736</cx:pt>
          <cx:pt idx="1302">3.3065591380365986</cx:pt>
          <cx:pt idx="1303">3.281096066537744</cx:pt>
          <cx:pt idx="1304">3.3163005687611595</cx:pt>
          <cx:pt idx="1305">3.423197273002605</cx:pt>
          <cx:pt idx="1306">3.3846586206727891</cx:pt>
          <cx:pt idx="1307">3.441992421252114</cx:pt>
          <cx:pt idx="1308">3.4307276885696245</cx:pt>
          <cx:pt idx="1309">3.4774233447021623</cx:pt>
          <cx:pt idx="1310">3.436990431439467</cx:pt>
          <cx:pt idx="1311">3.3636257958672591</cx:pt>
          <cx:pt idx="1312">3.4099790306169493</cx:pt>
          <cx:pt idx="1313">3.4494818061823129</cx:pt>
          <cx:pt idx="1314">3.4866874318343806</cx:pt>
          <cx:pt idx="1315">3.4222548059706552</cx:pt>
          <cx:pt idx="1316">3.3250434551287635</cx:pt>
          <cx:pt idx="1317">3.3353757183855164</cx:pt>
          <cx:pt idx="1318">3.2372163802367488</cx:pt>
          <cx:pt idx="1319">3.2504755648750017</cx:pt>
          <cx:pt idx="1320">3.3302135938472714</cx:pt>
          <cx:pt idx="1321">3.2696058754298138</cx:pt>
          <cx:pt idx="1322">3.2078532666949027</cx:pt>
          <cx:pt idx="1323">3.0921336197811127</cx:pt>
          <cx:pt idx="1324">3.2098638298924165</cx:pt>
          <cx:pt idx="1325">3.160917248119977</cx:pt>
          <cx:pt idx="1326">3.160917248119977</cx:pt>
          <cx:pt idx="1327">3.1903753107833439</cx:pt>
          <cx:pt idx="1328">3.1218963081979179</cx:pt>
          <cx:pt idx="1329">3.1087804890394337</cx:pt>
          <cx:pt idx="1330">3.0515287901295065</cx:pt>
          <cx:pt idx="1331">3.1101637062331444</cx:pt>
          <cx:pt idx="1332">3.134957254771956</cx:pt>
          <cx:pt idx="1333">3.1554697348115743</cx:pt>
          <cx:pt idx="1334">3.1615975273160859</cx:pt>
          <cx:pt idx="1335">3.1136190608219851</cx:pt>
          <cx:pt idx="1336">3.0655912092719726</cx:pt>
          <cx:pt idx="1337">2.9563127280848618</cx:pt>
          <cx:pt idx="1338">2.7746936283458017</cx:pt>
          <cx:pt idx="1339">2.780887148615228</cx:pt>
          <cx:pt idx="1340">2.780887148615228</cx:pt>
          <cx:pt idx="1341">2.6298534241014391</cx:pt>
          <cx:pt idx="1342">2.6298534241014391</cx:pt>
          <cx:pt idx="1343">2.6298534241014391</cx:pt>
          <cx:pt idx="1344">2.6526513415420703</cx:pt>
          <cx:pt idx="1345">2.6526513415420703</cx:pt>
          <cx:pt idx="1346">2.5803225604813509</cx:pt>
          <cx:pt idx="1347">2.5927939843268089</cx:pt>
          <cx:pt idx="1348">2.6481886688463971</cx:pt>
          <cx:pt idx="1349">2.6595334702856994</cx:pt>
          <cx:pt idx="1350">2.5097658717862101</cx:pt>
          <cx:pt idx="1351">2.4047444144700139</cx:pt>
          <cx:pt idx="1352">2.3513894313925361</cx:pt>
          <cx:pt idx="1353">2.4083189157584592</cx:pt>
          <cx:pt idx="1354">2.348644083776438</cx:pt>
          <cx:pt idx="1355">2.4821946584787917</cx:pt>
          <cx:pt idx="1356">2.6804750020395898</cx:pt>
          <cx:pt idx="1357">2.7774049929068063</cx:pt>
          <cx:pt idx="1358">2.747041419261782</cx:pt>
          <cx:pt idx="1359">2.8059077460903614</cx:pt>
          <cx:pt idx="1360">2.8863788378691604</cx:pt>
          <cx:pt idx="1361">2.8863788378691604</cx:pt>
          <cx:pt idx="1362">2.7909223048712684</cx:pt>
          <cx:pt idx="1363">2.8269060560022803</cx:pt>
          <cx:pt idx="1364">2.7909223048712684</cx:pt>
          <cx:pt idx="1365">2.78745268535957</cx:pt>
          <cx:pt idx="1366">2.78745268535957</cx:pt>
          <cx:pt idx="1367">2.8333649587102809</cx:pt>
          <cx:pt idx="1368">2.9252331953729485</cx:pt>
          <cx:pt idx="1369">2.9431896968081834</cx:pt>
          <cx:pt idx="1370">2.9704639223492508</cx:pt>
          <cx:pt idx="1371">2.8583023760823973</cx:pt>
          <cx:pt idx="1372">2.8964197402703831</cx:pt>
          <cx:pt idx="1373">2.8598067458581728</cx:pt>
          <cx:pt idx="1374">2.8956771637320231</cx:pt>
          <cx:pt idx="1375">2.9762500762081534</cx:pt>
          <cx:pt idx="1376">2.9071657853011756</cx:pt>
          <cx:pt idx="1377">3.0107334868819362</cx:pt>
          <cx:pt idx="1378">3.0214288437864152</cx:pt>
          <cx:pt idx="1379">2.9259682709456456</cx:pt>
          <cx:pt idx="1380">2.8609345040666576</cx:pt>
          <cx:pt idx="1381">3.0264070752207539</cx:pt>
          <cx:pt idx="1382">3.1666949630880641</cx:pt>
          <cx:pt idx="1383">3.1666949630880641</cx:pt>
          <cx:pt idx="1384">3.0462386466711893</cx:pt>
          <cx:pt idx="1385">2.994977875230179</cx:pt>
          <cx:pt idx="1386">2.9748045928415863</cx:pt>
          <cx:pt idx="1387">2.9748045928415858</cx:pt>
          <cx:pt idx="1388">2.8223379311927657</cx:pt>
          <cx:pt idx="1389">2.8488820671024739</cx:pt>
          <cx:pt idx="1390">2.6952766331180662</cx:pt>
          <cx:pt idx="1391">2.8341238618867961</cx:pt>
          <cx:pt idx="1392">2.8341238618867961</cx:pt>
          <cx:pt idx="1393">2.9222910440674044</cx:pt>
          <cx:pt idx="1394">2.9222910440674044</cx:pt>
          <cx:pt idx="1395">3.1035879340718102</cx:pt>
          <cx:pt idx="1396">3.2873167801267993</cx:pt>
          <cx:pt idx="1397">3.3237496638521069</cx:pt>
          <cx:pt idx="1398">3.3237496638521069</cx:pt>
          <cx:pt idx="1399">3.2781452925609909</cx:pt>
          <cx:pt idx="1400">3.3237496638521065</cx:pt>
          <cx:pt idx="1401">3.3003746936188283</cx:pt>
          <cx:pt idx="1402">3.3353757183855168</cx:pt>
          <cx:pt idx="1403">3.3652237938650833</cx:pt>
          <cx:pt idx="1404">3.4222548059706557</cx:pt>
          <cx:pt idx="1405">3.3562652054079782</cx:pt>
          <cx:pt idx="1406">3.3562652054079778</cx:pt>
          <cx:pt idx="1407">3.3916405774273333</cx:pt>
          <cx:pt idx="1408">3.283389279584485</cx:pt>
          <cx:pt idx="1409">3.2138811829413543</cx:pt>
          <cx:pt idx="1410">3.1356431660053614</cx:pt>
          <cx:pt idx="1411">3.1663553893416485</cx:pt>
          <cx:pt idx="1412">3.1218963081979179</cx:pt>
          <cx:pt idx="1413">3.1218963081979179</cx:pt>
          <cx:pt idx="1414">3.1218963081979179</cx:pt>
          <cx:pt idx="1415">3.2118731345210483</cx:pt>
          <cx:pt idx="1416">3.2607143488070407</cx:pt>
          <cx:pt idx="1417">3.2402044273753456</cx:pt>
          <cx:pt idx="1418">3.2138811829413543</cx:pt>
          <cx:pt idx="1419">3.2085235944144119</cx:pt>
          <cx:pt idx="1420">3.2527903654078791</cx:pt>
          <cx:pt idx="1421">3.3856115535303002</cx:pt>
          <cx:pt idx="1422">3.3703322959236885</cx:pt>
          <cx:pt idx="1423">3.3830698027564523</cx:pt>
          <cx:pt idx="1424">3.2974411715100986</cx:pt>
          <cx:pt idx="1425">3.2593950226964661</cx:pt>
          <cx:pt idx="1426">3.173817619141007</cx:pt>
          <cx:pt idx="1427">3.0352764661240426</cx:pt>
          <cx:pt idx="1428">3.042353361872125</cx:pt>
          <cx:pt idx="1429">3.0153727992206156</cx:pt>
          <cx:pt idx="1430">3.0561061739142108</cx:pt>
          <cx:pt idx="1431">3.0589196209302116</cx:pt>
          <cx:pt idx="1432">3.1462556684387222</cx:pt>
          <cx:pt idx="1433">3.0956090998258694</cx:pt>
          <cx:pt idx="1434">3.1421518549506628</cx:pt>
          <cx:pt idx="1435">3.1198290551460239</cx:pt>
          <cx:pt idx="1436">3.2014781532272552</cx:pt>
          <cx:pt idx="1437">3.0718982958074879</cx:pt>
          <cx:pt idx="1438">3.0405856821215513</cx:pt>
          <cx:pt idx="1439">3.0610280092018565</cx:pt>
          <cx:pt idx="1440">3.2051705538972324</cx:pt>
          <cx:pt idx="1441">3.2491520812839507</cx:pt>
          <cx:pt idx="1442">3.2425265603574713</cx:pt>
          <cx:pt idx="1443">3.1598965547244005</cx:pt>
          <cx:pt idx="1444">3.0827302519765842</cx:pt>
          <cx:pt idx="1445">3.1772037479384259</cx:pt>
          <cx:pt idx="1446">3.2155535987192878</cx:pt>
          <cx:pt idx="1447">3.2797849391860781</cx:pt>
          <cx:pt idx="1448">3.32148431646397</cx:pt>
          <cx:pt idx="1449">3.3463187926982672</cx:pt>
          <cx:pt idx="1450">3.3802080485693349</cx:pt>
          <cx:pt idx="1451">3.3137056539907586</cx:pt>
          <cx:pt idx="1452">3.2554338362752198</cx:pt>
          <cx:pt idx="1453">3.2554338362752198</cx:pt>
          <cx:pt idx="1454">3.2600547524922505</cx:pt>
          <cx:pt idx="1455">3.2081884480621725</cx:pt>
          <cx:pt idx="1456">3.2745351800158278</cx:pt>
          <cx:pt idx="1457">3.1704278738406595</cx:pt>
          <cx:pt idx="1458">3.2441842091342017</cx:pt>
          <cx:pt idx="1459">3.434799770345514</cx:pt>
          <cx:pt idx="1460">3.4222548059706552</cx:pt>
          <cx:pt idx="1461">3.3253668242960859</cx:pt>
          <cx:pt idx="1462">3.2188958235054219</cx:pt>
          <cx:pt idx="1463">3.1934071870598637</cx:pt>
          <cx:pt idx="1464">3.2285687098122127</cx:pt>
          <cx:pt idx="1465">3.0164423964635549</cx:pt>
          <cx:pt idx="1466">3.2702635453299447</cx:pt>
          <cx:pt idx="1467">3.1342711934321343</cx:pt>
          <cx:pt idx="1468">3.1805862717835627</cx:pt>
          <cx:pt idx="1469">3.1981177259830993</cx:pt>
          <cx:pt idx="1470">3.2142157357120453</cx:pt>
          <cx:pt idx="1471">3.2142157357120453</cx:pt>
          <cx:pt idx="1472">3.2322301632088317</cx:pt>
          <cx:pt idx="1473">3.2850263087930309</cx:pt>
          <cx:pt idx="1474">3.4851451274143215</cx:pt>
          <cx:pt idx="1475">3.4734012335220155</cx:pt>
          <cx:pt idx="1476">3.4093483122113661</cx:pt>
          <cx:pt idx="1477">3.4093483122113666</cx:pt>
          <cx:pt idx="1478">3.3360204223092698</cx:pt>
          <cx:pt idx="1479">3.4501051877372686</cx:pt>
          <cx:pt idx="1480">3.450105187737269</cx:pt>
          <cx:pt idx="1481">3.3903722002036858</cx:pt>
          <cx:pt idx="1482">3.4544657088084305</cx:pt>
          <cx:pt idx="1483">3.4974645194077558</cx:pt>
          <cx:pt idx="1484">3.432294445599084</cx:pt>
          <cx:pt idx="1485">3.4553993902639619</cx:pt>
          <cx:pt idx="1486">3.432294445599084</cx:pt>
          <cx:pt idx="1487">3.2931992485002453</cx:pt>
          <cx:pt idx="1488">3.2931992485002453</cx:pt>
          <cx:pt idx="1489">3.2931992485002453</cx:pt>
          <cx:pt idx="1490">3.1876778887743105</cx:pt>
          <cx:pt idx="1491">3.2438527471451737</cx:pt>
          <cx:pt idx="1492">3.2338930897803402</cx:pt>
          <cx:pt idx="1493">3.1067045085147384</cx:pt>
          <cx:pt idx="1494">3.1819382745106326</cx:pt>
          <cx:pt idx="1495">3.0132324657206788</cx:pt>
          <cx:pt idx="1496">3.0851709142108268</cx:pt>
          <cx:pt idx="1497">3.0851709142108268</cx:pt>
          <cx:pt idx="1498">3.0969981997835214</cx:pt>
          <cx:pt idx="1499">3.128777287028905</cx:pt>
          <cx:pt idx="1500">3.1575136536709199</cx:pt>
          <cx:pt idx="1501">3.3153277137354564</cx:pt>
          <cx:pt idx="1502">3.2646691281244777</cx:pt>
          <cx:pt idx="1503">3.2232355346496098</cx:pt>
          <cx:pt idx="1504">3.1923968815707062</cx:pt>
          <cx:pt idx="1505">3.1380426746551731</cx:pt>
          <cx:pt idx="1506">3.1809243263385678</cx:pt>
          <cx:pt idx="1507">3.2392087179247295</cx:pt>
          <cx:pt idx="1508">3.23920871792473</cx:pt>
          <cx:pt idx="1509">3.330859296925341</cx:pt>
          <cx:pt idx="1510">3.2091937821176826</cx:pt>
          <cx:pt idx="1511">3.12980812906018</cx:pt>
          <cx:pt idx="1512">3.2551035198179465</cx:pt>
          <cx:pt idx="1513">3.2935257442377748</cx:pt>
          <cx:pt idx="1514">3.2935257442377748</cx:pt>
          <cx:pt idx="1515">3.3344084287760056</cx:pt>
          <cx:pt idx="1516">3.354983454280307</cx:pt>
          <cx:pt idx="1517">3.355303937965834</cx:pt>
          <cx:pt idx="1518">3.4501051877372686</cx:pt>
          <cx:pt idx="1519">3.4755675640782933</cx:pt>
          <cx:pt idx="1520">3.5155568243090936</cx:pt>
          <cx:pt idx="1521">3.6135944039320513</cx:pt>
          <cx:pt idx="1522">3.4734012335220155</cx:pt>
          <cx:pt idx="1523">3.5189196778165783</cx:pt>
          <cx:pt idx="1524">3.5584217837965548</cx:pt>
          <cx:pt idx="1525">3.618352265642411</cx:pt>
          <cx:pt idx="1526">3.6854844591891487</cx:pt>
          <cx:pt idx="1527">3.6705746524992366</cx:pt>
          <cx:pt idx="1528">3.5259407346857272</cx:pt>
          <cx:pt idx="1529">3.5659681760018649</cx:pt>
          <cx:pt idx="1530">3.490386181918089</cx:pt>
          <cx:pt idx="1531">3.4077710054823895</cx:pt>
          <cx:pt idx="1532">3.3408517360967465</cx:pt>
          <cx:pt idx="1533">3.3735211813904948</cx:pt>
          <cx:pt idx="1534">3.439804945707841</cx:pt>
          <cx:pt idx="1535">3.4360517477045112</cx:pt>
          <cx:pt idx="1536">3.5396373060053095</cx:pt>
          <cx:pt idx="1537">3.458509841330605</cx:pt>
          <cx:pt idx="1538">3.448234704982414</cx:pt>
          <cx:pt idx="1539">3.4482347049824145</cx:pt>
          <cx:pt idx="1540">3.410609632384821</cx:pt>
          <cx:pt idx="1541">3.4826760196814925</cx:pt>
          <cx:pt idx="1542">3.468754540828181</cx:pt>
          <cx:pt idx="1543">3.468754540828181</cx:pt>
          <cx:pt idx="1544">3.3897378336156265</cx:pt>
          <cx:pt idx="1545">3.2138811829413538</cx:pt>
          <cx:pt idx="1546">3.1728010758108782</cx:pt>
          <cx:pt idx="1547">3.1700886999564224</cx:pt>
          <cx:pt idx="1548">3.2882979223006017</cx:pt>
          <cx:pt idx="1549">3.2494830027169304</cx:pt>
          <cx:pt idx="1550">3.2215671068062379</cx:pt>
          <cx:pt idx="1551">3.1595562503181882</cx:pt>
          <cx:pt idx="1552">3.2155535987192874</cx:pt>
          <cx:pt idx="1553">3.2155535987192874</cx:pt>
          <cx:pt idx="1554">3.2318974752183247</cx:pt>
          <cx:pt idx="1555">3.1816003276906559</cx:pt>
          <cx:pt idx="1556">3.0743475573242858</cx:pt>
          <cx:pt idx="1557">3.0743475573242862</cx:pt>
          <cx:pt idx="1558">3.1280898702817246</cx:pt>
          <cx:pt idx="1559">3.148305569189441</cx:pt>
          <cx:pt idx="1560">3.2215671068062379</cx:pt>
          <cx:pt idx="1561">3.1913862562465138</cx:pt>
          <cx:pt idx="1562">3.2128773156099952</cx:pt>
          <cx:pt idx="1563">3.2646691281244773</cx:pt>
          <cx:pt idx="1564">3.1853157707109334</cx:pt>
          <cx:pt idx="1565">3.1609172481199774</cx:pt>
          <cx:pt idx="1566">3.1609172481199774</cx:pt>
          <cx:pt idx="1567">3.1087804890394337</cx:pt>
          <cx:pt idx="1568">3.0634859615410575</cx:pt>
          <cx:pt idx="1569">3.0634859615410575</cx:pt>
          <cx:pt idx="1570">3.0203610123892952</cx:pt>
          <cx:pt idx="1571">3.0096618607626069</cx:pt>
          <cx:pt idx="1572">2.9686534364601154</cx:pt>
          <cx:pt idx="1573">3.0753966437077733</cx:pt>
          <cx:pt idx="1574">2.9599476891628749</cx:pt>
          <cx:pt idx="1575">3.0150161824847914</cx:pt>
          <cx:pt idx="1576">3.0103763205615754</cx:pt>
          <cx:pt idx="1577">3.0487085226229778</cx:pt>
          <cx:pt idx="1578">3.1198290551460239</cx:pt>
          <cx:pt idx="1579">3.1778805407350967</cx:pt>
          <cx:pt idx="1580">3.1342711934321352</cx:pt>
          <cx:pt idx="1581">3.211538337716624</cx:pt>
          <cx:pt idx="1582">3.2232355346496098</cx:pt>
          <cx:pt idx="1583">3.0627838907259393</cx:pt>
          <cx:pt idx="1584">3.1704278738406595</cx:pt>
          <cx:pt idx="1585">3.1377000000514039</cx:pt>
          <cx:pt idx="1586">3.1239621932645472</cx:pt>
          <cx:pt idx="1587">3.2155535987192878</cx:pt>
          <cx:pt idx="1588">3.1772037479384254</cx:pt>
          <cx:pt idx="1589">3.1462556684387226</cx:pt>
          <cx:pt idx="1590">3.1022017848583765</cx:pt>
          <cx:pt idx="1591">3.0631349462478359</cx:pt>
          <cx:pt idx="1592">3.1022017848583765</cx:pt>
          <cx:pt idx="1593">3.0820325649127707</cx:pt>
          <cx:pt idx="1594">3.2142157357120453</cx:pt>
          <cx:pt idx="1595">3.2902593289303059</cx:pt>
          <cx:pt idx="1596">3.2715784885054515</cx:pt>
          <cx:pt idx="1597">3.3003746936188283</cx:pt>
          <cx:pt idx="1598">3.2544427863249292</cx:pt>
          <cx:pt idx="1599">3.2438527471451737</cx:pt>
          <cx:pt idx="1600">3.3049327746810966</cx:pt>
          <cx:pt idx="1601">3.2738783682190258</cx:pt>
          <cx:pt idx="1602">3.3747958918767158</cx:pt>
          <cx:pt idx="1603">3.4036665871614304</cx:pt>
          <cx:pt idx="1604">3.310459150170296</cx:pt>
          <cx:pt idx="1605">3.4027187106277115</cx:pt>
          <cx:pt idx="1606">3.3437471736496942</cx:pt>
          <cx:pt idx="1607">3.4501051877372686</cx:pt>
          <cx:pt idx="1608">3.4338604877691767</cx:pt>
          <cx:pt idx="1609">3.338597993041359</cx:pt>
          <cx:pt idx="1610">3.2018140019722887</cx:pt>
          <cx:pt idx="1611">3.2165566307994307</cx:pt>
          <cx:pt idx="1612">3.2165566307994307</cx:pt>
          <cx:pt idx="1613">3.168052894095196</cx:pt>
          <cx:pt idx="1614">3.2643397461806303</cx:pt>
          <cx:pt idx="1615">3.1711061127774682</cx:pt>
          <cx:pt idx="1616">3.1363289272308394</cx:pt>
          <cx:pt idx="1617">3.2441842091342008</cx:pt>
          <cx:pt idx="1618">3.1704278738406595</cx:pt>
          <cx:pt idx="1619">3.1704278738406595</cx:pt>
          <cx:pt idx="1620">3.2128773156099952</cx:pt>
          <cx:pt idx="1621">3.2421949289006742</cx:pt>
          <cx:pt idx="1622">3.2738783682190258</cx:pt>
          <cx:pt idx="1623">3.2335605728816375</cx:pt>
          <cx:pt idx="1624">3.3305364610344039</cx:pt>
          <cx:pt idx="1625">3.1772037479384254</cx:pt>
          <cx:pt idx="1626">3.1315254450352508</cx:pt>
          <cx:pt idx="1627">3.1977814890346878</cx:pt>
          <cx:pt idx="1628">3.2024855937997008</cx:pt>
          <cx:pt idx="1629">3.2918929417259228</cx:pt>
          <cx:pt idx="1630">3.2918929417259228</cx:pt>
          <cx:pt idx="1631">3.2735499129015984</cx:pt>
          <cx:pt idx="1632">3.2567547670807557</cx:pt>
          <cx:pt idx="1633">3.1643171816059237</cx:pt>
          <cx:pt idx="1634">3.2636808825658501</cx:pt>
          <cx:pt idx="1635">3.2646691281244773</cx:pt>
          <cx:pt idx="1636">3.1704278738406595</cx:pt>
          <cx:pt idx="1637">3.166355389341649</cx:pt>
          <cx:pt idx="1638">3.1694102432980462</cx:pt>
          <cx:pt idx="1639">3.2646691281244773</cx:pt>
          <cx:pt idx="1640">3.2846989682203693</cx:pt>
          <cx:pt idx="1641">3.3719271156296187</cx:pt>
          <cx:pt idx="1642">3.3437471736496946</cx:pt>
          <cx:pt idx="1643">3.2735499129015988</cx:pt>
          <cx:pt idx="1644">3.330859296925341</cx:pt>
          <cx:pt idx="1645">3.330859296925341</cx:pt>
          <cx:pt idx="1646">3.3360204223092698</cx:pt>
          <cx:pt idx="1647">3.5020731187444185</cx:pt>
          <cx:pt idx="1648">3.4068242709161307</cx:pt>
          <cx:pt idx="1649">3.4326077111905358</cx:pt>
          <cx:pt idx="1650">3.5381180830905676</cx:pt>
          <cx:pt idx="1651">3.4965420706196153</cx:pt>
          <cx:pt idx="1652">3.4789690723620428</cx:pt>
          <cx:pt idx="1653">3.4128158209837496</cx:pt>
          <cx:pt idx="1654">3.340207964680018</cx:pt>
          <cx:pt idx="1655">3.2958103087704935</cx:pt>
          <cx:pt idx="1656">3.4055615487560331</cx:pt>
          <cx:pt idx="1657">3.3642650861506844</cx:pt>
          <cx:pt idx="1658">3.3143545731498216</cx:pt>
          <cx:pt idx="1659">3.2613738117218247</cx:pt>
          <cx:pt idx="1660">3.2215671068062384</cx:pt>
          <cx:pt idx="1661">3.2215671068062388</cx:pt>
          <cx:pt idx="1662">3.1711061127774682</cx:pt>
          <cx:pt idx="1663">3.2215671068062384</cx:pt>
          <cx:pt idx="1664">3.2305663806498304</cx:pt>
          <cx:pt idx="1665">3.0806367167592419</cx:pt>
          <cx:pt idx="1666">3.2494830027169304</cx:pt>
          <cx:pt idx="1667">3.2653277923353805</cx:pt>
          <cx:pt idx="1668">3.2653277923353805</cx:pt>
          <cx:pt idx="1669">3.1568324944237154</cx:pt>
          <cx:pt idx="1670">3.092829028227952</cx:pt>
          <cx:pt idx="1671">3.0886542289865595</cx:pt>
          <cx:pt idx="1672">3.0886542289865599</cx:pt>
          <cx:pt idx="1673">3.1619376120293063</cx:pt>
          <cx:pt idx="1674">3.2225682671681506</cx:pt>
          <cx:pt idx="1675">3.1174155273066293</cx:pt>
          <cx:pt idx="1676">3.1174155273066289</cx:pt>
          <cx:pt idx="1677">3.1073966561246444</cx:pt>
          <cx:pt idx="1678">2.91824074268352</cx:pt>
          <cx:pt idx="1679">2.8923332100312127</cx:pt>
          <cx:pt idx="1680">2.8751811537130436</cx:pt>
          <cx:pt idx="1681">2.5844863885254106</cx:pt>
          <cx:pt idx="1682">2.392191598756523</cx:pt>
          <cx:pt idx="1683">2.34589552334532</cx:pt>
          <cx:pt idx="1684">2.297731466571566</cx:pt>
          <cx:pt idx="1685">2.2466223153785752</cx:pt>
          <cx:pt idx="1686">2.2355870509478248</cx:pt>
          <cx:pt idx="1687">2.1992178472777422</cx:pt>
          <cx:pt idx="1688">2.1992178472777422</cx:pt>
          <cx:pt idx="1689">2.2355870509478244</cx:pt>
          <cx:pt idx="1690">2.1306771098025532</cx:pt>
          <cx:pt idx="1691">2.1200527483800915</cx:pt>
          <cx:pt idx="1692">2.0551535013177218</cx:pt>
          <cx:pt idx="1693">2.0572452611480565</cx:pt>
          <cx:pt idx="1694">2.0816659994661326</cx:pt>
          <cx:pt idx="1695">2.0806326581269725</cx:pt>
          <cx:pt idx="1696">2.1093748755475858</cx:pt>
          <cx:pt idx="1697">1.5019700324888727</cx:pt>
          <cx:pt idx="1698">1.4759724332303477</cx:pt>
          <cx:pt idx="1699">1.4569079055181533</cx:pt>
          <cx:pt idx="1700">1.2048289933537479</cx:pt>
          <cx:pt idx="1701">1.2048289933537479</cx:pt>
          <cx:pt idx="1702">1.2066126049791726</cx:pt>
          <cx:pt idx="1703">1.17957528350774</cx:pt>
          <cx:pt idx="1704">1.1481635640850445</cx:pt>
          <cx:pt idx="1705">1.1120068074364233</cx:pt>
          <cx:pt idx="1706">1.0855849223602514</cx:pt>
          <cx:pt idx="1707">1.0706243781736826</cx:pt>
          <cx:pt idx="1708">1.0452143886684542</cx:pt>
          <cx:pt idx="1709">1.0452143886684542</cx:pt>
          <cx:pt idx="1710">1.0635707760647266</cx:pt>
          <cx:pt idx="1711">1.0706243781736831</cx:pt>
          <cx:pt idx="1712">1.0865749680948489</cx:pt>
          <cx:pt idx="1713">1.0635707760647266</cx:pt>
          <cx:pt idx="1714">1.6428404460515316</cx:pt>
          <cx:pt idx="1715">1.9565165445881902</cx:pt>
          <cx:pt idx="1716">2.2143228776426471</cx:pt>
          <cx:pt idx="1717">2.3075379049531772</cx:pt>
          <cx:pt idx="1718">2.5869814684839878</cx:pt>
          <cx:pt idx="1719">2.7579796251791318</cx:pt>
          <cx:pt idx="1720">2.9182407426835204</cx:pt>
          <cx:pt idx="1721">3.1025483802211533</cx:pt>
          <cx:pt idx="1722">3.121896308197917</cx:pt>
          <cx:pt idx="1723">3.2748635365150252</cx:pt>
          <cx:pt idx="1724">3.2541123692687619</cx:pt>
          <cx:pt idx="1725">3.1873405505132704</cx:pt>
          <cx:pt idx="1726">3.1486470895646046</cx:pt>
          <cx:pt idx="1727">3.1568324944237158</cx:pt>
          <cx:pt idx="1728">3.240868063721758</cx:pt>
          <cx:pt idx="1729">3.3085097187615733</cx:pt>
          <cx:pt idx="1730">3.2643397461806307</cx:pt>
          <cx:pt idx="1731">3.2918929417259224</cx:pt>
          <cx:pt idx="1732">3.2577451136954307</cx:pt>
          <cx:pt idx="1733">3.2577451136954307</cx:pt>
          <cx:pt idx="1734">3.225903224354882</cx:pt>
          <cx:pt idx="1735">3.225903224354882</cx:pt>
          <cx:pt idx="1736">3.2299006276534463</cx:pt>
          <cx:pt idx="1737">3.2299006276534463</cx:pt>
          <cx:pt idx="1738">3.2498138904529053</cx:pt>
          <cx:pt idx="1739">3.3340859365436377</cx:pt>
          <cx:pt idx="1740">3.2636808825658497</cx:pt>
          <cx:pt idx="1741">3.3802080485693349</cx:pt>
          <cx:pt idx="1742">3.3133811467526511</cx:pt>
          <cx:pt idx="1743">3.2850263087930314</cx:pt>
          <cx:pt idx="1744">3.2781452925609913</cx:pt>
          <cx:pt idx="1745">3.2494830027169299</cx:pt>
          <cx:pt idx="1746">3.2215671068062379</cx:pt>
          <cx:pt idx="1747">3.2534514344860197</cx:pt>
          <cx:pt idx="1748">3.2643397461806307</cx:pt>
          <cx:pt idx="1749">3.3376316372896153</cx:pt>
          <cx:pt idx="1750">3.3013519550606523</cx:pt>
          <cx:pt idx="1751">3.2935257442377752</cx:pt>
          <cx:pt idx="1752">3.2335605728816375</cx:pt>
          <cx:pt idx="1753">3.260054752492251</cx:pt>
          <cx:pt idx="1754">3.2335605728816375</cx:pt>
          <cx:pt idx="1755">3.340851736096746</cx:pt>
          <cx:pt idx="1756">3.3601075251612356</cx:pt>
          <cx:pt idx="1757">3.3763886032268267</cx:pt>
          <cx:pt idx="1758">3.3706513202318393</cx:pt>
          <cx:pt idx="1759">3.2305663806498308</cx:pt>
          <cx:pt idx="1760">3.1383853118429226</cx:pt>
          <cx:pt idx="1761">3.1826140604956361</cx:pt>
          <cx:pt idx="1762">3.2494830027169304</cx:pt>
          <cx:pt idx="1763">3.3376316372896153</cx:pt>
          <cx:pt idx="1764">3.3376316372896153</cx:pt>
          <cx:pt idx="1765">3.4591315959138442</cx:pt>
          <cx:pt idx="1766">3.5341650471709949</cx:pt>
          <cx:pt idx="1767">3.4873041626133854</cx:pt>
          <cx:pt idx="1768">3.4650327001203358</cx:pt>
          <cx:pt idx="1769">3.4175385721997524</cx:pt>
          <cx:pt idx="1770">3.3514561110830803</cx:pt>
          <cx:pt idx="1771">3.3802080485693335</cx:pt>
          <cx:pt idx="1772">3.3802080485693335</cx:pt>
          <cx:pt idx="1773">3.4962345336059042</cx:pt>
          <cx:pt idx="1774">3.5112721708897077</cx:pt>
          <cx:pt idx="1775">3.4519746569547789</cx:pt>
          <cx:pt idx="1776">3.4388670302314543</cx:pt>
          <cx:pt idx="1777">3.5295983505391995</cx:pt>
          <cx:pt idx="1778">3.5002304071626207</cx:pt>
          <cx:pt idx="1779">3.5641584990642063</cx:pt>
          <cx:pt idx="1780">3.5277700166426076</cx:pt>
          <cx:pt idx="1781">3.5578173809414437</cx:pt>
          <cx:pt idx="1782">3.6305158257870636</cx:pt>
          <cx:pt idx="1783">3.5995818156157844</cx:pt>
          <cx:pt idx="1784">3.5253307630983106</cx:pt>
          <cx:pt idx="1785">3.5253307630983106</cx:pt>
          <cx:pt idx="1786">3.3998734954327698</cx:pt>
          <cx:pt idx="1787">3.3998734954327698</cx:pt>
          <cx:pt idx="1788">3.4637911978590155</cx:pt>
          <cx:pt idx="1789">3.5496478698597698</cx:pt>
          <cx:pt idx="1790">3.6614821606698049</cx:pt>
          <cx:pt idx="1791">3.6455894695707518</cx:pt>
          <cx:pt idx="1792">3.6764288422677325</cx:pt>
          <cx:pt idx="1793">3.6001792070090963</cx:pt>
          <cx:pt idx="1794">3.5353818366879115</cx:pt>
          <cx:pt idx="1795">3.528074804756411</cx:pt>
          <cx:pt idx="1796">3.4873041626133854</cx:pt>
          <cx:pt idx="1797">3.3520977222904689</cx:pt>
          <cx:pt idx="1798">3.3782988656728485</cx:pt>
          <cx:pt idx="1799">3.3846586206727891</cx:pt>
          <cx:pt idx="1800">3.515556824309094</cx:pt>
          <cx:pt idx="1801">3.4873041626133854</cx:pt>
          <cx:pt idx="1802">3.4873041626133854</cx:pt>
          <cx:pt idx="1803">3.4143907972183025</cx:pt>
          <cx:pt idx="1804">3.3636257958672591</cx:pt>
          <cx:pt idx="1805">3.37001324141491</cx:pt>
          <cx:pt idx="1806">3.3559448135209031</cx:pt>
          <cx:pt idx="1807">3.3237496638521065</cx:pt>
          <cx:pt idx="1808">3.2441842091342012</cx:pt>
          <cx:pt idx="1809">3.2438527471451737</cx:pt>
          <cx:pt idx="1810">3.102894936869006</cx:pt>
          <cx:pt idx="1811">2.9719115169392456</cx:pt>
          <cx:pt idx="1812">3.0487085226229778</cx:pt>
          <cx:pt idx="1813">3.0203610123892952</cx:pt>
          <cx:pt idx="1814">3.0306676222507702</cx:pt>
          <cx:pt idx="1815">3.064538766186907</cx:pt>
          <cx:pt idx="1816">3.1181052973177938</cx:pt>
          <cx:pt idx="1817">3.1291209387721612</cx:pt>
          <cx:pt idx="1818">3.1291209387721612</cx:pt>
          <cx:pt idx="1819">3.1592159092550678</cx:pt>
          <cx:pt idx="1820">3.0550504633038935</cx:pt>
          <cx:pt idx="1821">2.9910260044238646</cx:pt>
          <cx:pt idx="1822">3.1383853118429226</cx:pt>
          <cx:pt idx="1823">3.0518811403171742</cx:pt>
          <cx:pt idx="1824">3.0983866769659336</cx:pt>
          <cx:pt idx="1825">3.2188958235054219</cx:pt>
          <cx:pt idx="1826">3.1765268109438591</cx:pt>
          <cx:pt idx="1827">3.1738176191410075</cx:pt>
          <cx:pt idx="1828">3.1907123281941798</cx:pt>
          <cx:pt idx="1829">3.2902593289303059</cx:pt>
          <cx:pt idx="1830">3.232895436481948</cx:pt>
          <cx:pt idx="1831">3.1575136536709194</cx:pt>
          <cx:pt idx="1832">3.2646691281244773</cx:pt>
          <cx:pt idx="1833">3.2974411715100986</cx:pt>
          <cx:pt idx="1834">3.3440687341806736</cx:pt>
          <cx:pt idx="1835">3.3798899263109883</cx:pt>
          <cx:pt idx="1836">3.3798899263109883</cx:pt>
          <cx:pt idx="1837">3.3960761671866746</cx:pt>
          <cx:pt idx="1838">3.4165945442164913</cx:pt>
          <cx:pt idx="1839">3.4335473364769498</cx:pt>
          <cx:pt idx="1840">3.4802051601865731</cx:pt>
          <cx:pt idx="1841">3.4522861367349713</cx:pt>
          <cx:pt idx="1842">3.4404300806418009</cx:pt>
          <cx:pt idx="1843">3.4721627235045629</cx:pt>
          <cx:pt idx="1844">3.572294825820042</cx:pt>
          <cx:pt idx="1845">3.5828144160401254</cx:pt>
          <cx:pt idx="1846">3.5774082046036617</cx:pt>
          <cx:pt idx="1847">3.4675143711278964</cx:pt>
          <cx:pt idx="1848">3.4675143711278964</cx:pt>
          <cx:pt idx="1849">3.4922340879057909</cx:pt>
          <cx:pt idx="1850">3.4922340879057909</cx:pt>
          <cx:pt idx="1851">3.4783508637259111</cx:pt>
          <cx:pt idx="1852">3.4203690928294259</cx:pt>
          <cx:pt idx="1853">3.3337634131149221</cx:pt>
          <cx:pt idx="1854">3.4131308743720039</cx:pt>
          <cx:pt idx="1855">3.3337634131149221</cx:pt>
          <cx:pt idx="1856">3.1913862562465134</cx:pt>
          <cx:pt idx="1857">3.1913862562465134</cx:pt>
          <cx:pt idx="1858">3.1363289272308394</cx:pt>
          <cx:pt idx="1859">3.2335605728816375</cx:pt>
          <cx:pt idx="1860">3.1588755315231896</cx:pt>
          <cx:pt idx="1861">3.1923968815707062</cx:pt>
          <cx:pt idx="1862">3.2235691165945819</cx:pt>
          <cx:pt idx="1863">3.2235691165945819</cx:pt>
          <cx:pt idx="1864">3.0655912092719726</cx:pt>
          <cx:pt idx="1865">2.9267031618955581</cx:pt>
          <cx:pt idx="1866">2.7774049929068063</cx:pt>
          <cx:pt idx="1867">2.7924629742157001</cx:pt>
          <cx:pt idx="1868">2.8329854308861009</cx:pt>
          <cx:pt idx="1869">2.8189069795117021</cx:pt>
          <cx:pt idx="1870">2.7376310299077886</cx:pt>
          <cx:pt idx="1871">2.6680104141274392</cx:pt>
          <cx:pt idx="1872">2.7309457182684973</cx:pt>
          <cx:pt idx="1873">2.766154895016872</cx:pt>
          <cx:pt idx="1874">2.6968719434874715</cx:pt>
          <cx:pt idx="1875">2.3854397038376729</cx:pt>
          <cx:pt idx="1876">2.4047444144700143</cx:pt>
          <cx:pt idx="1877">2.3858904246171009</cx:pt>
          <cx:pt idx="1878">2.3477282545024769</cx:pt>
          <cx:pt idx="1879">2.2177194524764565</cx:pt>
          <cx:pt idx="1880">1.96145655775421</cx:pt>
          <cx:pt idx="1881">1.9526656717949569</cx:pt>
          <cx:pt idx="1882">1.9680239529969896</cx:pt>
          <cx:pt idx="1883">1.9680239529969896</cx:pt>
          <cx:pt idx="1884">1.9734800875392633</cx:pt>
          <cx:pt idx="1885">1.5261167249147483</cx:pt>
          <cx:pt idx="1886">1.3271361356622933</cx:pt>
          <cx:pt idx="1887">1.300950851600309</cx:pt>
          <cx:pt idx="1888">1.1500350625790896</cx:pt>
          <cx:pt idx="1889">1.1216347516589491</cx:pt>
          <cx:pt idx="1890">1.0905261628351504</cx:pt>
          <cx:pt idx="1891">1.0915117266719427</cx:pt>
          <cx:pt idx="1892">1.120675679442819</cx:pt>
          <cx:pt idx="1893">1.1453505825681702</cx:pt>
          <cx:pt idx="1894">1.1071614388213233</cx:pt>
          <cx:pt idx="1895">1.0816156771784882</cx:pt>
          <cx:pt idx="1896">1.0766335425511488</cx:pt>
          <cx:pt idx="1897">1.0503455652553653</cx:pt>
          <cx:pt idx="1898">1.0885523582075136</cx:pt>
          <cx:pt idx="1899">1.120675679442819</cx:pt>
          <cx:pt idx="1900">1.0915117266719427</cx:pt>
          <cx:pt idx="1901">1.0574873852167088</cx:pt>
          <cx:pt idx="1902">1.5821585908029614</cx:pt>
          <cx:pt idx="1903">2.0320020320030481</cx:pt>
          <cx:pt idx="1904">2.0572452611480547</cx:pt>
          <cx:pt idx="1905">2.0572452611480552</cx:pt>
          <cx:pt idx="1906">2.0655911179772888</cx:pt>
          <cx:pt idx="1907">2.0572452611480552</cx:pt>
          <cx:pt idx="1908">2.1402441826320477</cx:pt>
          <cx:pt idx="1909">2.1938329986137166</cx:pt>
          <cx:pt idx="1910">2.487819790866685</cx:pt>
          <cx:pt idx="1911">2.8215758580234285</cx:pt>
          <cx:pt idx="1912">2.9204506943388915</cx:pt>
          <cx:pt idx="1913">2.9563127280848622</cx:pt>
          <cx:pt idx="1914">2.9563127280848622</cx:pt>
          <cx:pt idx="1915">2.9635781918020538</cx:pt>
          <cx:pt idx="1916">2.9635781918020538</cx:pt>
          <cx:pt idx="1917">3.0352764661240421</cx:pt>
          <cx:pt idx="1918">2.9751660295226889</cx:pt>
          <cx:pt idx="1919">3.0075174630120745</cx:pt>
          <cx:pt idx="1920">3.0391707980607054</cx:pt>
          <cx:pt idx="1921">3.042353361872125</cx:pt>
          <cx:pt idx="1922">3.0093045672538072</cx:pt>
          <cx:pt idx="1923">3.1112007155555101</cx:pt>
          <cx:pt idx="1924">3.1167256046408154</cx:pt>
          <cx:pt idx="1925">3.1167256046408154</cx:pt>
          <cx:pt idx="1926">3.0994276266599985</cx:pt>
          <cx:pt idx="1927">3.0848223664026526</cx:pt>
          <cx:pt idx="1928">3.0876096471758427</cx:pt>
          <cx:pt idx="1929">2.9971312448614476</cx:pt>
          <cx:pt idx="1930">2.900500512981588</cx:pt>
          <cx:pt idx="1931">2.8466165541659474</cx:pt>
          <cx:pt idx="1932">2.8466165541659474</cx:pt>
          <cx:pt idx="1933">2.8676917397060828</cx:pt>
          <cx:pt idx="1934">2.7195034334839843</cx:pt>
          <cx:pt idx="1935">2.8676917397060828</cx:pt>
          <cx:pt idx="1936">2.7653773391631362</cx:pt>
          <cx:pt idx="1937">2.8097372930425331</cx:pt>
          <cx:pt idx="1938">2.8230997986465658</cx:pt>
          <cx:pt idx="1939">2.8070571587470607</cx:pt>
          <cx:pt idx="1940">2.8333649587102814</cx:pt>
          <cx:pt idx="1941">2.7123770474091233</cx:pt>
          <cx:pt idx="1942">2.5782381247582604</cx:pt>
          <cx:pt idx="1943">2.6844834908978719</cx:pt>
          <cx:pt idx="1944">2.7040391929462202</cx:pt>
          <cx:pt idx="1945">2.7427323320297385</cx:pt>
          <cx:pt idx="1946">2.7427323320297381</cx:pt>
          <cx:pt idx="1947">2.8131794280890894</cx:pt>
          <cx:pt idx="1948">2.7591490039152387</cx:pt>
          <cx:pt idx="1949">2.9182407426835204</cx:pt>
          <cx:pt idx="1950">2.9182407426835204</cx:pt>
          <cx:pt idx="1951">2.8341238618867961</cx:pt>
          <cx:pt idx="1952">2.8518999514943251</cx:pt>
          <cx:pt idx="1953">3.0487085226229773</cx:pt>
          <cx:pt idx="1954">2.9719115169392456</cx:pt>
          <cx:pt idx="1955">3.015016182484791</cx:pt>
          <cx:pt idx="1956">3.0820325649127707</cx:pt>
          <cx:pt idx="1957">3.12980812906018</cx:pt>
          <cx:pt idx="1958">3.1304951684997055</cx:pt>
          <cx:pt idx="1959">3.1277461052529079</cx:pt>
          <cx:pt idx="1960">3.2607143488070407</cx:pt>
          <cx:pt idx="1961">3.3340859365436373</cx:pt>
          <cx:pt idx="1962">3.3757516088615267</cx:pt>
          <cx:pt idx="1963">3.3501725200321393</cx:pt>
          <cx:pt idx="1964">3.3003746936188278</cx:pt>
          <cx:pt idx="1965">3.4532204075030748</cx:pt>
          <cx:pt idx="1966">3.4055615487560336</cx:pt>
          <cx:pt idx="1967">3.4128158209837505</cx:pt>
          <cx:pt idx="1968">3.354983454280307</cx:pt>
          <cx:pt idx="1969">3.3221317162004498</cx:pt>
          <cx:pt idx="1970">3.3305364610344039</cx:pt>
          <cx:pt idx="1971">3.3305364610344039</cx:pt>
          <cx:pt idx="1972">3.3163005687611604</cx:pt>
          <cx:pt idx="1973">3.2781452925609913</cx:pt>
          <cx:pt idx="1974">3.1595562503181882</cx:pt>
          <cx:pt idx="1975">3.2335605728816379</cx:pt>
          <cx:pt idx="1976">3.31630056876116</cx:pt>
          <cx:pt idx="1977">3.3163005687611604</cx:pt>
          <cx:pt idx="1978">3.3652237938650833</cx:pt>
          <cx:pt idx="1979">3.4609961894887884</cx:pt>
          <cx:pt idx="1980">3.3741585968296062</cx:pt>
          <cx:pt idx="1981">3.3741585968296062</cx:pt>
          <cx:pt idx="1982">3.5075954450950602</cx:pt>
          <cx:pt idx="1983">3.529598350539199</cx:pt>
          <cx:pt idx="1984">3.413445898681537</cx:pt>
          <cx:pt idx="1985">3.413445898681537</cx:pt>
          <cx:pt idx="1986">3.4055615487560336</cx:pt>
          <cx:pt idx="1987">3.345354667215775</cx:pt>
          <cx:pt idx="1988">3.3153277137354564</cx:pt>
          <cx:pt idx="1989">3.3443902637938563</cx:pt>
          <cx:pt idx="1990">3.310459150170296</cx:pt>
          <cx:pt idx="1991">3.3585070928126854</cx:pt>
          <cx:pt idx="1992">3.3957595314890785</cx:pt>
          <cx:pt idx="1993">3.3636257958672595</cx:pt>
          <cx:pt idx="1994">3.3459974484047637</cx:pt>
          <cx:pt idx="1995">3.3302135938472714</cx:pt>
          <cx:pt idx="1996">3.2305663806498308</cx:pt>
          <cx:pt idx="1997">3.184302898003982</cx:pt>
          <cx:pt idx="1998">3.184302898003982</cx:pt>
          <cx:pt idx="1999">3.174833836986295</cx:pt>
          <cx:pt idx="2000">3.2633514008747819</cx:pt>
          <cx:pt idx="2001">3.3700132414149095</cx:pt>
          <cx:pt idx="2002">3.3900550317479468</cx:pt>
          <cx:pt idx="2003">3.4077710054823895</cx:pt>
          <cx:pt idx="2004">3.3150033652815436</cx:pt>
          <cx:pt idx="2005">3.3052581113728028</cx:pt>
          <cx:pt idx="2006">3.224569655375054</cx:pt>
          <cx:pt idx="2007">3.1249946236512884</cx:pt>
          <cx:pt idx="2008">3.0778431213383652</cx:pt>
          <cx:pt idx="2009">3.0778431213383652</cx:pt>
          <cx:pt idx="2010">3.0150161824847914</cx:pt>
          <cx:pt idx="2011">2.9935414349196248</cx:pt>
          <cx:pt idx="2012">2.9935414349196248</cx:pt>
          <cx:pt idx="2013">2.8635642126552705</cx:pt>
          <cx:pt idx="2014">2.8295673897087568</cx:pt>
          <cx:pt idx="2015">2.8158537352043895</cx:pt>
          <cx:pt idx="2016">2.7897662444951781</cx:pt>
          <cx:pt idx="2017">2.811267651158746</cx:pt>
          <cx:pt idx="2018">2.8567972141159492</cx:pt>
          <cx:pt idx="2019">2.8043744630545078</cx:pt>
          <cx:pt idx="2020">2.7859092452161196</cx:pt>
          <cx:pt idx="2021">2.8307071953500338</cx:pt>
          <cx:pt idx="2022">2.7131697924347908</cx:pt>
          <cx:pt idx="2023">2.6196117253130944</cx:pt>
          <cx:pt idx="2024">2.6072685827059687</cx:pt>
          <cx:pt idx="2025">2.6502180880030419</cx:pt>
          <cx:pt idx="2026">2.6708300832013507</cx:pt>
          <cx:pt idx="2027">2.6708300832013507</cx:pt>
          <cx:pt idx="2028">2.7970798905248486</cx:pt>
          <cx:pt idx="2029">2.8541612706957866</cx:pt>
          <cx:pt idx="2030">2.8541612706957866</cx:pt>
          <cx:pt idx="2031">2.8691911864698256</cx:pt>
          <cx:pt idx="2032">2.7439082087534405</cx:pt>
          <cx:pt idx="2033">2.700059736495688</cx:pt>
          <cx:pt idx="2034">2.700059736495688</cx:pt>
          <cx:pt idx="2035">2.7131697924347908</cx:pt>
          <cx:pt idx="2036">2.8158537352043895</cx:pt>
          <cx:pt idx="2037">2.7928480087537881</cx:pt>
          <cx:pt idx="2038">2.7897662444951785</cx:pt>
          <cx:pt idx="2039">2.7897662444951785</cx:pt>
          <cx:pt idx="2040">2.6228934199606972</cx:pt>
          <cx:pt idx="2041">2.7123770474091229</cx:pt>
          <cx:pt idx="2042">2.7123770474091229</cx:pt>
          <cx:pt idx="2043">2.6290355564330521</cx:pt>
          <cx:pt idx="2044">2.6183800294255648</cx:pt>
          <cx:pt idx="2045">2.6183800294255648</cx:pt>
          <cx:pt idx="2046">2.6183800294255648</cx:pt>
          <cx:pt idx="2047">2.7348802336616349</cx:pt>
          <cx:pt idx="2048">2.7909223048712684</cx:pt>
          <cx:pt idx="2049">2.7175257563745623</cx:pt>
          <cx:pt idx="2050">2.7793400624600983</cx:pt>
          <cx:pt idx="2051">2.8127971766533837</cx:pt>
          <cx:pt idx="2052">2.7901516511758166</cx:pt>
          <cx:pt idx="2053">2.8127971766533837</cx:pt>
          <cx:pt idx="2054">2.8211947442433392</cx:pt>
          <cx:pt idx="2055">2.8211947442433387</cx:pt>
          <cx:pt idx="2056">2.7657661444148522</cx:pt>
          <cx:pt idx="2057">2.8567972141159488</cx:pt>
          <cx:pt idx="2058">2.7897662444951781</cx:pt>
          <cx:pt idx="2059">2.7897662444951785</cx:pt>
          <cx:pt idx="2060">2.7376310299077886</cx:pt>
          <cx:pt idx="2061">2.7866810721446864</cx:pt>
          <cx:pt idx="2062">2.6257615382806523</cx:pt>
          <cx:pt idx="2063">2.7103941704371683</cx:pt>
          <cx:pt idx="2064">2.7536876545688203</cx:pt>
          <cx:pt idx="2065">2.7970798905248482</cx:pt>
          <cx:pt idx="2066">2.8211947442433383</cx:pt>
          <cx:pt idx="2067">2.8059077460903614</cx:pt>
          <cx:pt idx="2068">2.8162355717693304</cx:pt>
          <cx:pt idx="2069">2.8131794280890894</cx:pt>
          <cx:pt idx="2070">2.9657543601470402</cx:pt>
          <cx:pt idx="2071">3.0494138340315162</cx:pt>
          <cx:pt idx="2072">2.9885084566885411</cx:pt>
          <cx:pt idx="2073">3.193070454081961</cx:pt>
          <cx:pt idx="2074">3.1660157791739598</cx:pt>
          <cx:pt idx="2075">3.3385979930413585</cx:pt>
          <cx:pt idx="2076">3.4820584691810823</cx:pt>
          <cx:pt idx="2077">3.5608383693272461</cx:pt>
          <cx:pt idx="2078">3.5210580032662899</cx:pt>
          <cx:pt idx="2079">3.4432417833336397</cx:pt>
          <cx:pt idx="2080">3.5774082046036617</cx:pt>
          <cx:pt idx="2081">3.6553098805136401</cx:pt>
          <cx:pt idx="2082">3.6553098805136401</cx:pt>
          <cx:pt idx="2083">3.6399810941255448</cx:pt>
          <cx:pt idx="2084">3.6399810941255448</cx:pt>
          <cx:pt idx="2085">3.6399810941255453</cx:pt>
          <cx:pt idx="2086">3.6180550825885942</cx:pt>
          <cx:pt idx="2087">3.6886923987916398</cx:pt>
          <cx:pt idx="2088">3.7304328210353912</cx:pt>
          <cx:pt idx="2089">3.7876426123830353</cx:pt>
          <cx:pt idx="2090">3.6886923987916402</cx:pt>
          <cx:pt idx="2091">3.6764288422677334</cx:pt>
          <cx:pt idx="2092">3.6764288422677334</cx:pt>
          <cx:pt idx="2093">3.67818328228278</cx:pt>
          <cx:pt idx="2094">3.5677769350205355</cx:pt>
          <cx:pt idx="2095">3.6614821606698049</cx:pt>
          <cx:pt idx="2096">3.735905411986741</cx:pt>
          <cx:pt idx="2097">3.6399810941255453</cx:pt>
          <cx:pt idx="2098">3.6787679096857051</cx:pt>
          <cx:pt idx="2099">3.6417530931404256</cx:pt>
          <cx:pt idx="2100">3.7413699980576096</cx:pt>
          <cx:pt idx="2101">3.6796446766279698</cx:pt>
          <cx:pt idx="2102">3.6582503603395891</cx:pt>
          <cx:pt idx="2103">3.6156767388097473</cx:pt>
          <cx:pt idx="2104">3.6156767388097473</cx:pt>
          <cx:pt idx="2105">3.6121062869130789</cx:pt>
          <cx:pt idx="2106">3.576205714416882</cx:pt>
          <cx:pt idx="2107">3.576205714416882</cx:pt>
          <cx:pt idx="2108">3.4829847538711576</cx:pt>
          <cx:pt idx="2109">3.4625492504552131</cx:pt>
          <cx:pt idx="2110">3.4625492504552131</cx:pt>
          <cx:pt idx="2111">3.3661822285341194</cx:pt>
          <cx:pt idx="2112">3.1987900938505054</cx:pt>
          <cx:pt idx="2113">3.2961365458718883</cx:pt>
          <cx:pt idx="2114">3.2935257442377743</cx:pt>
          <cx:pt idx="2115">3.3747958918767154</cx:pt>
          <cx:pt idx="2116">3.4222548059706557</cx:pt>
          <cx:pt idx="2117">3.4721627235045633</cx:pt>
          <cx:pt idx="2118">3.3305364610344039</cx:pt>
          <cx:pt idx="2119">3.2643397461806307</cx:pt>
          <cx:pt idx="2120">3.1994623204196273</cx:pt>
          <cx:pt idx="2121">3.206176834248716</cx:pt>
          <cx:pt idx="2122">3.3143545731498216</cx:pt>
          <cx:pt idx="2123">3.340207964680018</cx:pt>
          <cx:pt idx="2124">3.4466751939330056</cx:pt>
          <cx:pt idx="2125">3.4466751939330056</cx:pt>
          <cx:pt idx="2126">3.3620270383284563</cx:pt>
          <cx:pt idx="2127">3.3000488754933861</cx:pt>
          <cx:pt idx="2128">3.3000488754933865</cx:pt>
          <cx:pt idx="2129">3.3000488754933861</cx:pt>
          <cx:pt idx="2130">3.3661822285341194</cx:pt>
          <cx:pt idx="2131">3.2491520812839507</cx:pt>
          <cx:pt idx="2132">3.3208367905164069</cx:pt>
          <cx:pt idx="2133">3.3260134683127571</cx:pt>
          <cx:pt idx="2134">3.3104591501702969</cx:pt>
          <cx:pt idx="2135">3.1711061127774678</cx:pt>
          <cx:pt idx="2136">3.1711061127774678</cx:pt>
          <cx:pt idx="2137">3.026762349868362</cx:pt>
          <cx:pt idx="2138">2.9274378683617317</cx:pt>
          <cx:pt idx="2139">2.8949343967161538</cx:pt>
          <cx:pt idx="2140">2.9027239709646704</cx:pt>
          <cx:pt idx="2141">3.0207169981306929</cx:pt>
          <cx:pt idx="2142">2.9045755524318775</cx:pt>
          <cx:pt idx="2143">2.8718133344555996</cx:pt>
          <cx:pt idx="2144">2.8246229170733415</cx:pt>
          <cx:pt idx="2145">2.9145537661731304</cx:pt>
          <cx:pt idx="2146">2.9563127280848622</cx:pt>
          <cx:pt idx="2147">3.1067045085147384</cx:pt>
          <cx:pt idx="2148">2.9910260044238641</cx:pt>
          <cx:pt idx="2149">2.966116899645999</cx:pt>
          <cx:pt idx="2150">3.0750469880141056</cx:pt>
          <cx:pt idx="2151">3.0718982958074874</cx:pt>
          <cx:pt idx="2152">3.1073966561246444</cx:pt>
          <cx:pt idx="2153">3.1073966561246444</cx:pt>
          <cx:pt idx="2154">3.1073966561246444</cx:pt>
          <cx:pt idx="2155">2.9899473149600078</cx:pt>
          <cx:pt idx="2156">3.0603253745066819</cx:pt>
          <cx:pt idx="2157">3.12086285283999</cx:pt>
          <cx:pt idx="2158">3.0952617274295759</cx:pt>
          <cx:pt idx="2159">3.2018140019722892</cx:pt>
          <cx:pt idx="2160">3.2018140019722892</cx:pt>
          <cx:pt idx="2161">3.1592159092550673</cx:pt>
          <cx:pt idx="2162">3.2728929033790961</cx:pt>
          <cx:pt idx="2163">3.3143545731498216</cx:pt>
          <cx:pt idx="2164">3.2850263087930314</cx:pt>
          <cx:pt idx="2165">3.2305663806498304</cx:pt>
          <cx:pt idx="2166">3.2185617572055745</cx:pt>
          <cx:pt idx="2167">3.3508143770205048</cx:pt>
          <cx:pt idx="2168">3.3508143770205048</cx:pt>
          <cx:pt idx="2169">3.4783508637259111</cx:pt>
          <cx:pt idx="2170">3.4634807527588753</cx:pt>
          <cx:pt idx="2171">3.5753035813654668</cx:pt>
          <cx:pt idx="2172">3.6180550825885942</cx:pt>
          <cx:pt idx="2173">3.7235085778110224</cx:pt>
          <cx:pt idx="2174">3.7853708217378816</cx:pt>
          <cx:pt idx="2175">3.8209946349085602</cx:pt>
          <cx:pt idx="2176">3.8209946349085602</cx:pt>
          <cx:pt idx="2177">3.7700004278257655</cx:pt>
          <cx:pt idx="2178">3.7102009915703298</cx:pt>
          <cx:pt idx="2179">3.7802543010550438</cx:pt>
          <cx:pt idx="2180">3.816489407537961</cx:pt>
          <cx:pt idx="2181">3.816489407537961</cx:pt>
          <cx:pt idx="2182">3.8153622694721698</cx:pt>
          <cx:pt idx="2183">3.7989811877023194</cx:pt>
          <cx:pt idx="2184">3.7502688075699662</cx:pt>
          <cx:pt idx="2185">3.687817782917155</cx:pt>
          <cx:pt idx="2186">3.6180550825885938</cx:pt>
          <cx:pt idx="2187">3.5158626711776786</cx:pt>
          <cx:pt idx="2188">3.4826760196814925</cx:pt>
          <cx:pt idx="2189">3.4937732629498481</cx:pt>
          <cx:pt idx="2190">3.4253953543107007</cx:pt>
          <cx:pt idx="2191">3.4494818061823129</cx:pt>
          <cx:pt idx="2192">3.5441910674483457</cx:pt>
          <cx:pt idx="2193">3.4344867046956513</cx:pt>
          <cx:pt idx="2194">3.5472236606851744</cx:pt>
          <cx:pt idx="2195">3.6121062869130793</cx:pt>
          <cx:pt idx="2196">3.931401019801291</cx:pt>
          <cx:pt idx="2197">4.051284145281155</cx:pt>
          <cx:pt idx="2198">4.0160966445124959</cx:pt>
          <cx:pt idx="2199">4.2502371850324137</cx:pt>
          <cx:pt idx="2200">4.253524787547331</cx:pt>
          <cx:pt idx="2201">4.2922786389024754</cx:pt>
          <cx:pt idx="2202">4.2719389468473672</cx:pt>
          <cx:pt idx="2203">4.1369044580004086</cx:pt>
          <cx:pt idx="2204">4.1369044580004086</cx:pt>
          <cx:pt idx="2205">3.9822185419849871</cx:pt>
          <cx:pt idx="2206">3.8574045539031965</cx:pt>
          <cx:pt idx="2207">4.0008063703337635</cx:pt>
          <cx:pt idx="2208">3.7978488534930519</cx:pt>
          <cx:pt idx="2209">3.9428716133219184</cx:pt>
          <cx:pt idx="2210">4.0313289252088831</cx:pt>
          <cx:pt idx="2211">3.8590767183718411</cx:pt>
          <cx:pt idx="2212">3.7000435917222858</cx:pt>
          <cx:pt idx="2213">3.5359900744277568</cx:pt>
          <cx:pt idx="2214">3.4715433028014795</cx:pt>
          <cx:pt idx="2215">3.4789690723620428</cx:pt>
          <cx:pt idx="2216">3.2249030993194201</cx:pt>
          <cx:pt idx="2217">3.1448883256238469</cx:pt>
          <cx:pt idx="2218">3.1663553893416494</cx:pt>
          <cx:pt idx="2219">3.1280898702817246</cx:pt>
          <cx:pt idx="2220">2.8511457798689479</cx:pt>
          <cx:pt idx="2221">2.7000597364956889</cx:pt>
          <cx:pt idx="2222">2.150768804779561</cx:pt>
          <cx:pt idx="2223">2.150768804779561</cx:pt>
          <cx:pt idx="2224">1.9293990373070287</cx:pt>
          <cx:pt idx="2225">1.9471512138152918</cx:pt>
          <cx:pt idx="2226">1.8933954253032148</cx:pt>
          <cx:pt idx="2227">1.8933954253032146</cx:pt>
          <cx:pt idx="2228">1.9388501192578644</cx:pt>
          <cx:pt idx="2229">1.978377743158181</cx:pt>
          <cx:pt idx="2230">1.9488071896330819</cx:pt>
          <cx:pt idx="2231">1.9488071896330819</cx:pt>
          <cx:pt idx="2232">1.9696623803264144</cx:pt>
          <cx:pt idx="2233">1.9316269815103857</cx:pt>
          <cx:pt idx="2234">1.9897587253097382</cx:pt>
          <cx:pt idx="2235">1.9783777431581813</cx:pt>
          <cx:pt idx="2236">1.9482553540876466</cx:pt>
          <cx:pt idx="2237">2.1557624702079292</cx:pt>
          <cx:pt idx="2238">2.5530921585192483</cx:pt>
          <cx:pt idx="2239">2.6607461157489487</cx:pt>
          <cx:pt idx="2240">2.7167342824226157</cx:pt>
          <cx:pt idx="2241">2.7777921146583417</cx:pt>
          <cx:pt idx="2242">2.9336754443706328</cx:pt>
          <cx:pt idx="2243">2.948664724229253</cx:pt>
          <cx:pt idx="2244">3.0416464132482273</cx:pt>
          <cx:pt idx="2245">3.0959564332462981</cx:pt>
          <cx:pt idx="2246">10.971811389250655</cx:pt>
          <cx:pt idx="2247">14.971873271147857</cx:pt>
          <cx:pt idx="2248">17.929671449292364</cx:pt>
          <cx:pt idx="2249">20.268148644174822</cx:pt>
          <cx:pt idx="2250">22.195417525691759</cx:pt>
          <cx:pt idx="2251">23.811536013282044</cx:pt>
          <cx:pt idx="2252">25.223730079823341</cx:pt>
          <cx:pt idx="2253">26.461739472566396</cx:pt>
          <cx:pt idx="2254">27.515743294199016</cx:pt>
          <cx:pt idx="2255">28.416601236010816</cx:pt>
          <cx:pt idx="2256">29.116857623195919</cx:pt>
          <cx:pt idx="2257">29.702467223107661</cx:pt>
          <cx:pt idx="2258">30.10976335779419</cx:pt>
          <cx:pt idx="2259">30.388700503305007</cx:pt>
          <cx:pt idx="2260">30.542795641384856</cx:pt>
          <cx:pt idx="2261">30.606029344854004</cx:pt>
          <cx:pt idx="2262">30.321822227989635</cx:pt>
          <cx:pt idx="2263">30.085076499104822</cx:pt>
          <cx:pt idx="2264">29.950748101307202</cx:pt>
          <cx:pt idx="2265">29.755093537037478</cx:pt>
          <cx:pt idx="2266">29.658885049266289</cx:pt>
          <cx:pt idx="2267">29.497111212667473</cx:pt>
          <cx:pt idx="2268">29.042460572910006</cx:pt>
          <cx:pt idx="2269">28.413081948399256</cx:pt>
          <cx:pt idx="2270">27.82317437421662</cx:pt>
          <cx:pt idx="2271">27.523831316199072</cx:pt>
          <cx:pt idx="2272">27.064955716885798</cx:pt>
          <cx:pt idx="2273">26.542398624298876</cx:pt>
          <cx:pt idx="2274">26.193366967961175</cx:pt>
          <cx:pt idx="2275">25.533953781169981</cx:pt>
          <cx:pt idx="2276">25.176367139950742</cx:pt>
          <cx:pt idx="2277">25.300558878607653</cx:pt>
          <cx:pt idx="2278">25.375248290537996</cx:pt>
          <cx:pt idx="2279">25.19523764523764</cx:pt>
          <cx:pt idx="2280">24.989288027653611</cx:pt>
          <cx:pt idx="2281">24.463182782049373</cx:pt>
          <cx:pt idx="2282">23.932881057217593</cx:pt>
          <cx:pt idx="2283">23.24918775318389</cx:pt>
          <cx:pt idx="2284">22.406748215468433</cx:pt>
          <cx:pt idx="2285">21.427998968287874</cx:pt>
          <cx:pt idx="2286">20.27016452554032</cx:pt>
          <cx:pt idx="2287">18.915488334291851</cx:pt>
          <cx:pt idx="2288">17.346252422880269</cx:pt>
          <cx:pt idx="2289">15.351368542544742</cx:pt>
          <cx:pt idx="2290">12.872075302011131</cx:pt>
          <cx:pt idx="2291">9.4828651357485558</cx:pt>
          <cx:pt idx="2292">2.9992830684567244</cx:pt>
          <cx:pt idx="2293">2.9523091017469811</cx:pt>
          <cx:pt idx="2294">2.8725620799602924</cx:pt>
          <cx:pt idx="2295">3.0327956512705554</cx:pt>
          <cx:pt idx="2296">3.042353361872125</cx:pt>
          <cx:pt idx="2297">2.9595843939557187</cx:pt>
          <cx:pt idx="2298">2.9067958933491354</cx:pt>
          <cx:pt idx="2299">3.0264070752207539</cx:pt>
          <cx:pt idx="2300">2.9193459276285307</cx:pt>
          <cx:pt idx="2301">2.7540781101049294</cx:pt>
          <cx:pt idx="2302">2.7187125352751744</cx:pt>
          <cx:pt idx="2303">2.7127734488796214</cx:pt>
          <cx:pt idx="2304">2.8967909571562749</cx:pt>
          <cx:pt idx="2305">2.9614004243125041</cx:pt>
          <cx:pt idx="2306">2.8616860959629995</cx:pt>
          <cx:pt idx="2307">2.8230997986465658</cx:pt>
          <cx:pt idx="2308">2.9366061898011617</cx:pt>
          <cx:pt idx="2309">2.8860062817091228</cx:pt>
          <cx:pt idx="2310">2.8807854365056054</cx:pt>
          <cx:pt idx="2311">2.8718133344555992</cx:pt>
          <cx:pt idx="2312">2.8807854365056058</cx:pt>
          <cx:pt idx="2313">2.9635781918020538</cx:pt>
          <cx:pt idx="2314">3.0437667665299615</cx:pt>
          <cx:pt idx="2315">3.0732981128296974</cx:pt>
          <cx:pt idx="2316">3.0858678917220828</cx:pt>
          <cx:pt idx="2317">3.0858678917220828</cx:pt>
          <cx:pt idx="2318">3.1150001294464844</cx:pt>
          <cx:pt idx="2319">3.1150001294464844</cx:pt>
          <cx:pt idx="2320">3.1067045085147393</cx:pt>
          <cx:pt idx="2321">3.2527903654078787</cx:pt>
          <cx:pt idx="2322">3.259724904284548</cx:pt>
          <cx:pt idx="2323">3.3062339293672078</cx:pt>
          <cx:pt idx="2324">3.3237496638521065</cx:pt>
          <cx:pt idx="2325">3.323749663852106</cx:pt>
          <cx:pt idx="2326">3.1890268849789081</cx:pt>
          <cx:pt idx="2327">3.1112007155555106</cx:pt>
          <cx:pt idx="2328">3.1407827255371012</cx:pt>
          <cx:pt idx="2329">3.1816003276906559</cx:pt>
          <cx:pt idx="2330">3.1243063746343194</cx:pt>
          <cx:pt idx="2331">3.2607143488070407</cx:pt>
          <cx:pt idx="2332">3.3798899263109883</cx:pt>
          <cx:pt idx="2333">3.444490692255135</cx:pt>
          <cx:pt idx="2334">3.4532204075030748</cx:pt>
          <cx:pt idx="2335">3.4532204075030748</cx:pt>
          <cx:pt idx="2336">3.4820584691810827</cx:pt>
          <cx:pt idx="2337">3.4522861367349709</cx:pt>
          <cx:pt idx="2338">3.5002304071626202</cx:pt>
          <cx:pt idx="2339">3.3957595314890776</cx:pt>
          <cx:pt idx="2340">3.3585070928126863</cx:pt>
          <cx:pt idx="2341">3.3661822285341185</cx:pt>
          <cx:pt idx="2342">3.3107839438085729</cx:pt>
          <cx:pt idx="2343">3.2534514344860197</cx:pt>
          <cx:pt idx="2344">3.2081884480621725</cx:pt>
          <cx:pt idx="2345">3.0886542289865595</cx:pt>
          <cx:pt idx="2346">3.0260517588620042</cx:pt>
          <cx:pt idx="2347">2.9992830684567244</cx:pt>
          <cx:pt idx="2348">3.1243063746343189</cx:pt>
          <cx:pt idx="2349">3.1700886999564224</cx:pt>
          <cx:pt idx="2350">3.0603253745066814</cx:pt>
          <cx:pt idx="2351">3.0589196209302121</cx:pt>
          <cx:pt idx="2352">3.1028949368690055</cx:pt>
          <cx:pt idx="2353">3.1829518996835198</cx:pt>
          <cx:pt idx="2354">3.2232355346496098</cx:pt>
          <cx:pt idx="2355">3.3120827998584641</cx:pt>
          <cx:pt idx="2356">3.2431897215384224</cx:pt>
          <cx:pt idx="2357">3.274863536515026</cx:pt>
          <cx:pt idx="2358">3.2232355346496098</cx:pt>
          <cx:pt idx="2359">3.2534514344860193</cx:pt>
          <cx:pt idx="2360">3.3049327746810966</cx:pt>
          <cx:pt idx="2361">3.3732024285026112</cx:pt>
          <cx:pt idx="2362">3.2748635365150256</cx:pt>
          <cx:pt idx="2363">3.1748338369862954</cx:pt>
          <cx:pt idx="2364">3.1510366957660962</cx:pt>
          <cx:pt idx="2365">3.0652404350607125</cx:pt>
          <cx:pt idx="2366">3.0652404350607121</cx:pt>
          <cx:pt idx="2367">3.0652404350607121</cx:pt>
          <cx:pt idx="2368">3.0652404350607121</cx:pt>
          <cx:pt idx="2369">3.0384631089608649</cx:pt>
          <cx:pt idx="2370">3.0869130629262171</cx:pt>
          <cx:pt idx="2371">3.0869130629262171</cx:pt>
          <cx:pt idx="2372">3.1304951684997055</cx:pt>
          <cx:pt idx="2373">3.1876778887743105</cx:pt>
          <cx:pt idx="2374">3.2438527471451737</cx:pt>
          <cx:pt idx="2375">3.1500128007932431</cx:pt>
          <cx:pt idx="2376">3.2438527471451737</cx:pt>
          <cx:pt idx="2377">3.338597993041359</cx:pt>
          <cx:pt idx="2378">3.3871991791995186</cx:pt>
          <cx:pt idx="2379">3.4326077111905358</cx:pt>
          <cx:pt idx="2380">3.3565855667130946</cx:pt>
          <cx:pt idx="2381">3.3935422543793474</cx:pt>
          <cx:pt idx="2382">3.3565855667130946</cx:pt>
          <cx:pt idx="2383">3.3881513975135653</cx:pt>
          <cx:pt idx="2384">3.3938590969414855</cx:pt>
          <cx:pt idx="2385">3.3421389069154919</cx:pt>
          <cx:pt idx="2386">3.2531209167389905</cx:pt>
          <cx:pt idx="2387">3.2091937821176821</cx:pt>
          <cx:pt idx="2388">3.2352228156135809</cx:pt>
          <cx:pt idx="2389">3.2182276562281644</cx:pt>
          <cx:pt idx="2390">3.1778805407350967</cx:pt>
          <cx:pt idx="2391">3.0010750761857365</cx:pt>
          <cx:pt idx="2392">2.9152915345095058</cx:pt>
          <cx:pt idx="2393">3.0522334498294961</cx:pt>
          <cx:pt idx="2394">3.0842573949268433</cx:pt>
          <cx:pt idx="2395">3.046438605542527</cx:pt>
          <cx:pt idx="2396">3.0952686201181048</cx:pt>
          <cx:pt idx="2397">3.0569150044987108</cx:pt>
          <cx:pt idx="2398">3.0553861646909075</cx:pt>
          <cx:pt idx="2399">3.1134118476894979</cx:pt>
          <cx:pt idx="2400">3.1207579904219758</cx:pt>
          <cx:pt idx="2401">3.1610275009338467</cx:pt>
          <cx:pt idx="2402">3.1153856431632505</cx:pt>
          <cx:pt idx="2403">3.0519314727375049</cx:pt>
          <cx:pt idx="2404">2.87411313552363</cx:pt>
          <cx:pt idx="2405">2.4920927582635191</cx:pt>
          <cx:pt idx="2406">2.5546318307829945</cx:pt>
          <cx:pt idx="2407">2.5796146543051504</cx:pt>
          <cx:pt idx="2408">2.6004807247891688</cx:pt>
          <cx:pt idx="2409">2.6672618383439062</cx:pt>
          <cx:pt idx="2410">2.5901334345533646</cx:pt>
          <cx:pt idx="2411">2.665063620734804</cx:pt>
          <cx:pt idx="2412">2.7413776673693677</cx:pt>
          <cx:pt idx="2413">2.7699688216164584</cx:pt>
          <cx:pt idx="2414">2.6583202716502514</cx:pt>
          <cx:pt idx="2415">2.438123139721299</cx:pt>
          <cx:pt idx="2416">2.5071326821120348</cx:pt>
          <cx:pt idx="2417">2.5634797778466232</cx:pt>
          <cx:pt idx="2418">2.8047578623950176</cx:pt>
          <cx:pt idx="2419">2.5495097567963922</cx:pt>
          <cx:pt idx="2420">2.6457513110645907</cx:pt>
          <cx:pt idx="2421">2.5166114784235831</cx:pt>
          <cx:pt idx="2422">3.5355339059327378</cx:pt>
        </cx:lvl>
      </cx:numDim>
    </cx:data>
    <cx:data id="5">
      <cx:numDim type="val">
        <cx:f>'Data Repository Table'!$H$4937:$H$7360</cx:f>
        <cx:lvl ptCount="2424" formatCode="General">
          <cx:pt idx="0">0.27532128431877351</cx:pt>
          <cx:pt idx="1">0.27078690296762453</cx:pt>
          <cx:pt idx="2">0.27459012667789967</cx:pt>
          <cx:pt idx="3">0.27438391539739948</cx:pt>
          <cx:pt idx="4">0.27563441473422468</cx:pt>
          <cx:pt idx="5">0.27796338138027721</cx:pt>
          <cx:pt idx="6">0.27018752148060271</cx:pt>
          <cx:pt idx="7">0.27248885647545429</cx:pt>
          <cx:pt idx="8">0.27094185336259941</cx:pt>
          <cx:pt idx="9">0.2680673982077636</cx:pt>
          <cx:pt idx="10">0.26233238260937342</cx:pt>
          <cx:pt idx="11">0.25242865317164059</cx:pt>
          <cx:pt idx="12">0.2435898999949444</cx:pt>
          <cx:pt idx="13">0.24714855102996247</cx:pt>
          <cx:pt idx="14">0.2433610779931919</cx:pt>
          <cx:pt idx="15">0.23577214557467946</cx:pt>
          <cx:pt idx="16">0.23061622179842153</cx:pt>
          <cx:pt idx="17">0.21319919053976413</cx:pt>
          <cx:pt idx="18">0.21717837923294589</cx:pt>
          <cx:pt idx="19">0.22759372914120385</cx:pt>
          <cx:pt idx="20">0.22747094459357242</cx:pt>
          <cx:pt idx="21">0.24356962686735475</cx:pt>
          <cx:pt idx="22">0.24472946806054149</cx:pt>
          <cx:pt idx="23">0.2465961230068057</cx:pt>
          <cx:pt idx="24">0.24893771214655594</cx:pt>
          <cx:pt idx="25">0.27231244389371073</cx:pt>
          <cx:pt idx="26">0.26886583451188623</cx:pt>
          <cx:pt idx="27">0.26828910099146391</cx:pt>
          <cx:pt idx="28">0.26936325961410335</cx:pt>
          <cx:pt idx="29">0.27036142238876809</cx:pt>
          <cx:pt idx="30">0.26838049634374456</cx:pt>
          <cx:pt idx="31">0.26668291649494941</cx:pt>
          <cx:pt idx="32">0.28028952693708964</cx:pt>
          <cx:pt idx="33">0.27225453339293021</cx:pt>
          <cx:pt idx="34">0.28081981930452332</cx:pt>
          <cx:pt idx="35">0.27909797543292697</cx:pt>
          <cx:pt idx="36">0.27948231441484084</cx:pt>
          <cx:pt idx="37">0.28157398137948586</cx:pt>
          <cx:pt idx="38">0.28187053240592103</cx:pt>
          <cx:pt idx="39">0.28323729645407764</cx:pt>
          <cx:pt idx="40">0.28575339728982124</cx:pt>
          <cx:pt idx="41">0.28607645667939169</cx:pt>
          <cx:pt idx="42">0.29010414591723571</cx:pt>
          <cx:pt idx="43">0.2855355987079124</cx:pt>
          <cx:pt idx="44">0.27236068357735177</cx:pt>
          <cx:pt idx="45">0.27057780704119894</cx:pt>
          <cx:pt idx="46">0.27513218166282022</cx:pt>
          <cx:pt idx="47">0.27324769721980968</cx:pt>
          <cx:pt idx="48">0.27075904121979505</cx:pt>
          <cx:pt idx="49">0.26173544320636827</cx:pt>
          <cx:pt idx="50">0.25498028647275045</cx:pt>
          <cx:pt idx="51">0.25979868370050091</cx:pt>
          <cx:pt idx="52">0.25150421404413609</cx:pt>
          <cx:pt idx="53">0.24824473314005929</cx:pt>
          <cx:pt idx="54">0.24744226890848003</cx:pt>
          <cx:pt idx="55">0.23718187172619024</cx:pt>
          <cx:pt idx="56">0.22546478100083608</cx:pt>
          <cx:pt idx="57">0.2213305408061669</cx:pt>
          <cx:pt idx="58">0.22052839920628078</cx:pt>
          <cx:pt idx="59">0.23462811872076808</cx:pt>
          <cx:pt idx="60">0.23682515281691568</cx:pt>
          <cx:pt idx="61">0.23624257013549352</cx:pt>
          <cx:pt idx="62">0.24202972788466851</cx:pt>
          <cx:pt idx="63">0.25257723550121319</cx:pt>
          <cx:pt idx="64">0.25179622811067015</cx:pt>
          <cx:pt idx="65">0.25654430761499214</cx:pt>
          <cx:pt idx="66">0.26503926150436369</cx:pt>
          <cx:pt idx="67">0.26285213282776282</cx:pt>
          <cx:pt idx="68">0.25603757726841253</cx:pt>
          <cx:pt idx="69">0.25362104664391422</cx:pt>
          <cx:pt idx="70">0.25167166366035643</cx:pt>
          <cx:pt idx="71">0.24977272632229464</cx:pt>
          <cx:pt idx="72">0.25036517253388479</cx:pt>
          <cx:pt idx="73">0.25445827735061899</cx:pt>
          <cx:pt idx="74">0.26583280283901289</cx:pt>
          <cx:pt idx="75">0.26412803175155591</cx:pt>
          <cx:pt idx="76">0.2666548861557862</cx:pt>
          <cx:pt idx="77">0.26373406972035823</cx:pt>
          <cx:pt idx="78">0.26312578385725549</cx:pt>
          <cx:pt idx="79">0.26318725336273785</cx:pt>
          <cx:pt idx="80">0.25931326721522358</cx:pt>
          <cx:pt idx="81">0.25880897795779401</cx:pt>
          <cx:pt idx="82">0.25002174993772014</cx:pt>
          <cx:pt idx="83">0.25371666784669733</cx:pt>
          <cx:pt idx="84">0.2609584214777525</cx:pt>
          <cx:pt idx="85">0.25585118395123468</cx:pt>
          <cx:pt idx="86">0.26010112223770104</cx:pt>
          <cx:pt idx="87">0.27438339981706517</cx:pt>
          <cx:pt idx="88">0.27442891945493769</cx:pt>
          <cx:pt idx="89">0.27525252264585792</cx:pt>
          <cx:pt idx="90">0.25637927294654594</cx:pt>
          <cx:pt idx="91">0.24838860087742254</cx:pt>
          <cx:pt idx="92">0.24194426971171848</cx:pt>
          <cx:pt idx="93">0.24156595011705814</cx:pt>
          <cx:pt idx="94">0.23853814874566748</cx:pt>
          <cx:pt idx="95">0.23862028898884935</cx:pt>
          <cx:pt idx="96">0.24101062486326594</cx:pt>
          <cx:pt idx="97">0.23771655357326341</cx:pt>
          <cx:pt idx="98">0.26899700735617355</cx:pt>
          <cx:pt idx="99">0.27147727122999271</cx:pt>
          <cx:pt idx="100">0.27289315828932026</cx:pt>
          <cx:pt idx="101">0.28550292950028572</cx:pt>
          <cx:pt idx="102">0.28418212025425682</cx:pt>
          <cx:pt idx="103">0.27357545502305641</cx:pt>
          <cx:pt idx="104">0.26656150459725769</cx:pt>
          <cx:pt idx="105">0.25542435240079925</cx:pt>
          <cx:pt idx="106">0.25651042078134145</cx:pt>
          <cx:pt idx="107">0.2556657353270847</cx:pt>
          <cx:pt idx="108">0.2717691025671044</cx:pt>
          <cx:pt idx="109">0.28178546271810168</cx:pt>
          <cx:pt idx="110">0.28273002419767723</cx:pt>
          <cx:pt idx="111">0.28770906780565769</cx:pt>
          <cx:pt idx="112">0.30222310657481455</cx:pt>
          <cx:pt idx="113">0.31405198139678014</cx:pt>
          <cx:pt idx="114">0.32608206979420096</cx:pt>
          <cx:pt idx="115">0.32143507280841799</cx:pt>
          <cx:pt idx="116">0.31666543105620759</cx:pt>
          <cx:pt idx="117">0.31450426018898664</cx:pt>
          <cx:pt idx="118">0.30187632936737652</cx:pt>
          <cx:pt idx="119">0.30357279397337461</cx:pt>
          <cx:pt idx="120">0.30611796322967166</cx:pt>
          <cx:pt idx="121">0.30687837955161618</cx:pt>
          <cx:pt idx="122">0.30660103195235799</cx:pt>
          <cx:pt idx="123">0.32550247470593641</cx:pt>
          <cx:pt idx="124">0.32581016913197436</cx:pt>
          <cx:pt idx="125">0.31743160672165155</cx:pt>
          <cx:pt idx="126">0.31705533824349375</cx:pt>
          <cx:pt idx="127">0.3191750603977157</cx:pt>
          <cx:pt idx="128">0.31878519708489744</cx:pt>
          <cx:pt idx="129">0.29756447724001561</cx:pt>
          <cx:pt idx="130">0.29436983689041341</cx:pt>
          <cx:pt idx="131">0.29406731242229261</cx:pt>
          <cx:pt idx="132">0.28339601421703409</cx:pt>
          <cx:pt idx="133">0.28436375138827436</cx:pt>
          <cx:pt idx="134">0.28392043791327243</cx:pt>
          <cx:pt idx="135">0.28314946361329724</cx:pt>
          <cx:pt idx="136">0.28649147395667085</cx:pt>
          <cx:pt idx="137">0.28821148702430821</cx:pt>
          <cx:pt idx="138">0.30071325024225398</cx:pt>
          <cx:pt idx="139">0.28712086345325272</cx:pt>
          <cx:pt idx="140">0.28381433258912497</cx:pt>
          <cx:pt idx="141">0.28371705459925056</cx:pt>
          <cx:pt idx="142">0.2896102352371972</cx:pt>
          <cx:pt idx="143">0.29200490164429221</cx:pt>
          <cx:pt idx="144">0.27900207755235362</cx:pt>
          <cx:pt idx="145">0.2661976426442042</cx:pt>
          <cx:pt idx="146">0.26135705103779616</cx:pt>
          <cx:pt idx="147">0.26843721068994852</cx:pt>
          <cx:pt idx="148">0.26751457851219806</cx:pt>
          <cx:pt idx="149">0.27252480456375761</cx:pt>
          <cx:pt idx="150">0.27526931418693862</cx:pt>
          <cx:pt idx="151">0.2705314368182074</cx:pt>
          <cx:pt idx="152">0.26873949826173393</cx:pt>
          <cx:pt idx="153">0.28847801112710231</cx:pt>
          <cx:pt idx="154">0.2706850217448018</cx:pt>
          <cx:pt idx="155">0.28389910382885175</cx:pt>
          <cx:pt idx="156">0.28383422093369115</cx:pt>
          <cx:pt idx="157">0.28407046869246511</cx:pt>
          <cx:pt idx="158">0.27549448341581217</cx:pt>
          <cx:pt idx="159">0.27511177007917226</cx:pt>
          <cx:pt idx="160">0.27375952083857541</cx:pt>
          <cx:pt idx="161">0.28760177692061872</cx:pt>
          <cx:pt idx="162">0.28724948634732006</cx:pt>
          <cx:pt idx="163">0.28959107202711298</cx:pt>
          <cx:pt idx="164">0.30502931754547713</cx:pt>
          <cx:pt idx="165">0.30391980740198804</cx:pt>
          <cx:pt idx="166">0.30517944904433686</cx:pt>
          <cx:pt idx="167">0.3043721671421587</cx:pt>
          <cx:pt idx="168">0.32217581921288557</cx:pt>
          <cx:pt idx="169">0.32410115078796209</cx:pt>
          <cx:pt idx="170">0.33029170516199069</cx:pt>
          <cx:pt idx="171">0.33414144794449069</cx:pt>
          <cx:pt idx="172">0.34198505345943414</cx:pt>
          <cx:pt idx="173">0.33838369706581489</cx:pt>
          <cx:pt idx="174">0.3311505350150461</cx:pt>
          <cx:pt idx="175">0.33036522244513461</cx:pt>
          <cx:pt idx="176">0.32132364997884483</cx:pt>
          <cx:pt idx="177">0.3214421663976072</cx:pt>
          <cx:pt idx="178">0.31845637457647386</cx:pt>
          <cx:pt idx="179">0.32139874524053619</cx:pt>
          <cx:pt idx="180">0.31216562110303103</cx:pt>
          <cx:pt idx="181">0.31943724675136254</cx:pt>
          <cx:pt idx="182">0.31949390959273671</cx:pt>
          <cx:pt idx="183">0.33695622498222449</cx:pt>
          <cx:pt idx="184">0.35315230470195802</cx:pt>
          <cx:pt idx="185">0.39191403578726131</cx:pt>
          <cx:pt idx="186">0.41272426489779379</cx:pt>
          <cx:pt idx="187">0.45651109333760398</cx:pt>
          <cx:pt idx="188">0.48854469471618422</cx:pt>
          <cx:pt idx="189">0.52690191678314613</cx:pt>
          <cx:pt idx="190">0.5447867665023185</cx:pt>
          <cx:pt idx="191">0.55681289506560061</cx:pt>
          <cx:pt idx="192">0.56833814233775115</cx:pt>
          <cx:pt idx="193">0.56885839944329686</cx:pt>
          <cx:pt idx="194">0.57711180534196427</cx:pt>
          <cx:pt idx="195">0.5558598938604471</cx:pt>
          <cx:pt idx="196">0.56376480438166121</cx:pt>
          <cx:pt idx="197">0.55931960567784467</cx:pt>
          <cx:pt idx="198">0.55544546134659245</cx:pt>
          <cx:pt idx="199">0.5228828357417481</cx:pt>
          <cx:pt idx="200">0.52605747687420479</cx:pt>
          <cx:pt idx="201">0.49721313360369207</cx:pt>
          <cx:pt idx="202">0.50251419851901269</cx:pt>
          <cx:pt idx="203">0.50044648246230372</cx:pt>
          <cx:pt idx="204">0.50086775876355705</cx:pt>
          <cx:pt idx="205">0.49371488995789403</cx:pt>
          <cx:pt idx="206">0.47078050850954772</cx:pt>
          <cx:pt idx="207">0.43743926222397389</cx:pt>
          <cx:pt idx="208">0.427032926015879</cx:pt>
          <cx:pt idx="209">0.40782828837477225</cx:pt>
          <cx:pt idx="210">0.3920641715922164</cx:pt>
          <cx:pt idx="211">0.35556852286790713</cx:pt>
          <cx:pt idx="212">0.25410520007633908</cx:pt>
          <cx:pt idx="213">0.18355387355408961</cx:pt>
          <cx:pt idx="214">0.17108425540041058</cx:pt>
          <cx:pt idx="215">0.16676551840831164</cx:pt>
          <cx:pt idx="216">0.17354520326558001</cx:pt>
          <cx:pt idx="217">0.18307719065644187</cx:pt>
          <cx:pt idx="218">0.18066731744691394</cx:pt>
          <cx:pt idx="219">0.1794726361168896</cx:pt>
          <cx:pt idx="220">0.16944795531334025</cx:pt>
          <cx:pt idx="221">0.16947185172013499</cx:pt>
          <cx:pt idx="222">0.17018771624474482</cx:pt>
          <cx:pt idx="223">0.17527416623085867</cx:pt>
          <cx:pt idx="224">0.17385077450898659</cx:pt>
          <cx:pt idx="225">0.16991260245990442</cx:pt>
          <cx:pt idx="226">0.16950465272368181</cx:pt>
          <cx:pt idx="227">0.1683097322738977</cx:pt>
          <cx:pt idx="228">0.23884140184175975</cx:pt>
          <cx:pt idx="229">0.28955635496365895</cx:pt>
          <cx:pt idx="230">0.33568512579873044</cx:pt>
          <cx:pt idx="231">0.34901174628190029</cx:pt>
          <cx:pt idx="232">0.3846955087822117</cx:pt>
          <cx:pt idx="233">0.39906213468617824</cx:pt>
          <cx:pt idx="234">0.41799810095111795</cx:pt>
          <cx:pt idx="235">0.43831332338278584</cx:pt>
          <cx:pt idx="236">0.43810042751013389</cx:pt>
          <cx:pt idx="237">0.43941036428744829</cx:pt>
          <cx:pt idx="238">0.45463529991211959</cx:pt>
          <cx:pt idx="239">0.45927121818583472</cx:pt>
          <cx:pt idx="240">0.46037076555430684</cx:pt>
          <cx:pt idx="241">0.47684922200340529</cx:pt>
          <cx:pt idx="242">0.47236690964632155</cx:pt>
          <cx:pt idx="243">0.48640607735750191</cx:pt>
          <cx:pt idx="244">0.46625717871979233</cx:pt>
          <cx:pt idx="245">0.44816064838837427</cx:pt>
          <cx:pt idx="246">0.42938660135055179</cx:pt>
          <cx:pt idx="247">0.42643535293407087</cx:pt>
          <cx:pt idx="248">0.4226375966669117</cx:pt>
          <cx:pt idx="249">0.41476615924503468</cx:pt>
          <cx:pt idx="250">0.38974583498863308</cx:pt>
          <cx:pt idx="251">0.37761513822545034</cx:pt>
          <cx:pt idx="252">0.3764814999762045</cx:pt>
          <cx:pt idx="253">0.36291434838865499</cx:pt>
          <cx:pt idx="254">0.35163435709727853</cx:pt>
          <cx:pt idx="255">0.31743321166131239</cx:pt>
          <cx:pt idx="256">0.29622034029743721</cx:pt>
          <cx:pt idx="257">0.2855925066730039</cx:pt>
          <cx:pt idx="258">0.26169160787111911</cx:pt>
          <cx:pt idx="259">0.26084821573877237</cx:pt>
          <cx:pt idx="260">0.25991488171767219</cx:pt>
          <cx:pt idx="261">0.25682399496862529</cx:pt>
          <cx:pt idx="262">0.26265594790920149</cx:pt>
          <cx:pt idx="263">0.26009353297310617</cx:pt>
          <cx:pt idx="264">0.26002893949873929</cx:pt>
          <cx:pt idx="265">0.2667650185573589</cx:pt>
          <cx:pt idx="266">0.27616457545892081</cx:pt>
          <cx:pt idx="267">0.27189881313485631</cx:pt>
          <cx:pt idx="268">0.27049642645057748</cx:pt>
          <cx:pt idx="269">0.27147579982557868</cx:pt>
          <cx:pt idx="270">0.28504251008434178</cx:pt>
          <cx:pt idx="271">0.29659353605822364</cx:pt>
          <cx:pt idx="272">0.30935235923214771</cx:pt>
          <cx:pt idx="273">0.31444016933763436</cx:pt>
          <cx:pt idx="274">0.31269628502876207</cx:pt>
          <cx:pt idx="275">0.31269624937454099</cx:pt>
          <cx:pt idx="276">0.32137017287919323</cx:pt>
          <cx:pt idx="277">0.3278685950947699</cx:pt>
          <cx:pt idx="278">0.32841024339255132</cx:pt>
          <cx:pt idx="279">0.3364974733024324</cx:pt>
          <cx:pt idx="280">0.33647892193579504</cx:pt>
          <cx:pt idx="281">0.33609699610724358</cx:pt>
          <cx:pt idx="282">0.32999760502377312</cx:pt>
          <cx:pt idx="283">0.32591300018668301</cx:pt>
          <cx:pt idx="284">0.3387623857120225</cx:pt>
          <cx:pt idx="285">0.33430175917199079</cx:pt>
          <cx:pt idx="286">0.356189244667171</cx:pt>
          <cx:pt idx="287">0.34013519898170202</cx:pt>
          <cx:pt idx="288">0.33235176073324568</cx:pt>
          <cx:pt idx="289">0.31368970095745208</cx:pt>
          <cx:pt idx="290">0.31322774820927546</cx:pt>
          <cx:pt idx="291">0.31326762283788412</cx:pt>
          <cx:pt idx="292">0.3257605175728952</cx:pt>
          <cx:pt idx="293">0.32261319069947891</cx:pt>
          <cx:pt idx="294">0.3353481415043047</cx:pt>
          <cx:pt idx="295">0.33654201409382889</cx:pt>
          <cx:pt idx="296">0.33224087329702068</cx:pt>
          <cx:pt idx="297">0.32852106739874576</cx:pt>
          <cx:pt idx="298">0.32598783991433833</cx:pt>
          <cx:pt idx="299">0.32583304597355273</cx:pt>
          <cx:pt idx="300">0.3412036263312887</cx:pt>
          <cx:pt idx="301">0.32792939770456053</cx:pt>
          <cx:pt idx="302">0.31384210519707756</cx:pt>
          <cx:pt idx="303">0.30438502811206108</cx:pt>
          <cx:pt idx="304">0.30892645071731822</cx:pt>
          <cx:pt idx="305">0.30719530925110772</cx:pt>
          <cx:pt idx="306">0.30757322167684281</cx:pt>
          <cx:pt idx="307">0.31098813147281062</cx:pt>
          <cx:pt idx="308">0.30404816792031991</cx:pt>
          <cx:pt idx="309">0.30472971724820774</cx:pt>
          <cx:pt idx="310">0.30663418040024776</cx:pt>
          <cx:pt idx="311">0.31077485580302855</cx:pt>
          <cx:pt idx="312">0.31546494497321748</cx:pt>
          <cx:pt idx="313">0.32125505229975315</cx:pt>
          <cx:pt idx="314">0.32395171429192349</cx:pt>
          <cx:pt idx="315">0.30582854928709835</cx:pt>
          <cx:pt idx="316">0.30922725301101006</cx:pt>
          <cx:pt idx="317">0.28804057740073441</cx:pt>
          <cx:pt idx="318">0.31481146734035304</cx:pt>
          <cx:pt idx="319">0.32231396093412595</cx:pt>
          <cx:pt idx="320">0.32757142061723282</cx:pt>
          <cx:pt idx="321">0.34615245805149664</cx:pt>
          <cx:pt idx="322">0.35015118390972511</cx:pt>
          <cx:pt idx="323">0.33541056539972819</cx:pt>
          <cx:pt idx="324">0.33630015790033835</cx:pt>
          <cx:pt idx="325">0.33664837710727263</cx:pt>
          <cx:pt idx="326">0.33501994480317554</cx:pt>
          <cx:pt idx="327">0.33076491923554352</cx:pt>
          <cx:pt idx="328">0.33995990134253984</cx:pt>
          <cx:pt idx="329">0.35232338129281099</cx:pt>
          <cx:pt idx="330">0.35654804882231506</cx:pt>
          <cx:pt idx="331">0.3415827907734143</cx:pt>
          <cx:pt idx="332">0.33885338555110106</cx:pt>
          <cx:pt idx="333">0.35434787131629458</cx:pt>
          <cx:pt idx="334">0.354663586230543</cx:pt>
          <cx:pt idx="335">0.35768409907798426</cx:pt>
          <cx:pt idx="336">0.357140227593429</cx:pt>
          <cx:pt idx="337">0.35648081443316915</cx:pt>
          <cx:pt idx="338">0.35799099920862376</cx:pt>
          <cx:pt idx="339">0.36331063490828241</cx:pt>
          <cx:pt idx="340">0.39055820522269774</cx:pt>
          <cx:pt idx="341">0.37884131867820681</cx:pt>
          <cx:pt idx="342">0.37435704769746719</cx:pt>
          <cx:pt idx="343">0.37127232690904538</cx:pt>
          <cx:pt idx="344">0.36454354354740276</cx:pt>
          <cx:pt idx="345">0.3884204733031994</cx:pt>
          <cx:pt idx="346">0.38769186037655229</cx:pt>
          <cx:pt idx="347">0.39172080363491224</cx:pt>
          <cx:pt idx="348">0.39191449940030726</cx:pt>
          <cx:pt idx="349">0.37532792322724212</cx:pt>
          <cx:pt idx="350">0.36788296546059673</cx:pt>
          <cx:pt idx="351">0.36474075938873934</cx:pt>
          <cx:pt idx="352">0.3527182352239826</cx:pt>
          <cx:pt idx="353">0.3476087118175944</cx:pt>
          <cx:pt idx="354">0.35220349386404137</cx:pt>
          <cx:pt idx="355">0.37617192354271994</cx:pt>
          <cx:pt idx="356">0.36779665155234514</cx:pt>
          <cx:pt idx="357">0.3691333142378756</cx:pt>
          <cx:pt idx="358">0.36752507823031871</cx:pt>
          <cx:pt idx="359">0.3597949064033194</cx:pt>
          <cx:pt idx="360">0.35200105705906165</cx:pt>
          <cx:pt idx="361">0.35897429070517384</cx:pt>
          <cx:pt idx="362">0.35860723082386614</cx:pt>
          <cx:pt idx="363">0.35898574758257468</cx:pt>
          <cx:pt idx="364">0.34015784494087925</cx:pt>
          <cx:pt idx="365">0.34068361825918164</cx:pt>
          <cx:pt idx="366">0.32265699379035007</cx:pt>
          <cx:pt idx="367">0.32804486357081264</cx:pt>
          <cx:pt idx="368">0.32814678300571309</cx:pt>
          <cx:pt idx="369">0.32533354352314231</cx:pt>
          <cx:pt idx="370">0.34214274541323919</cx:pt>
          <cx:pt idx="371">0.31637795958221243</cx:pt>
          <cx:pt idx="372">0.32109277329546665</cx:pt>
          <cx:pt idx="373">0.3200930130890845</cx:pt>
          <cx:pt idx="374">0.31817814987732568</cx:pt>
          <cx:pt idx="375">0.31730826981006854</cx:pt>
          <cx:pt idx="376">0.29433235282320902</cx:pt>
          <cx:pt idx="377">0.30198845637402977</cx:pt>
          <cx:pt idx="378">0.29050480796600447</cx:pt>
          <cx:pt idx="379">0.29759965251507575</cx:pt>
          <cx:pt idx="380">0.29468497156739198</cx:pt>
          <cx:pt idx="381">0.2956468995959366</cx:pt>
          <cx:pt idx="382">0.30107573643058233</cx:pt>
          <cx:pt idx="383">0.30215102361695562</cx:pt>
          <cx:pt idx="384">0.30491523201484755</cx:pt>
          <cx:pt idx="385">0.31323623607722539</cx:pt>
          <cx:pt idx="386">0.29297747304726568</cx:pt>
          <cx:pt idx="387">0.29482873698246714</cx:pt>
          <cx:pt idx="388">0.30956252786808547</cx:pt>
          <cx:pt idx="389">0.30765270600281774</cx:pt>
          <cx:pt idx="390">0.31011103940634283</cx:pt>
          <cx:pt idx="391">0.31532111163919346</cx:pt>
          <cx:pt idx="392">0.30625835769529614</cx:pt>
          <cx:pt idx="393">0.31812985284953077</cx:pt>
          <cx:pt idx="394">0.32992924302214299</cx:pt>
          <cx:pt idx="395">0.33404109707577162</cx:pt>
          <cx:pt idx="396">0.34222196664087889</cx:pt>
          <cx:pt idx="397">0.33971774226220658</cx:pt>
          <cx:pt idx="398">0.33131895013506918</cx:pt>
          <cx:pt idx="399">0.33095137770891542</cx:pt>
          <cx:pt idx="400">0.33022712596835024</cx:pt>
          <cx:pt idx="401">0.31641955106589192</cx:pt>
          <cx:pt idx="402">0.33517473804179437</cx:pt>
          <cx:pt idx="403">0.33305889994725957</cx:pt>
          <cx:pt idx="404">0.34204712166818507</cx:pt>
          <cx:pt idx="405">0.35538473412061478</cx:pt>
          <cx:pt idx="406">0.35265624435975867</cx:pt>
          <cx:pt idx="407">0.35910956547056899</cx:pt>
          <cx:pt idx="408">0.35125477573888381</cx:pt>
          <cx:pt idx="409">0.34886642433836923</cx:pt>
          <cx:pt idx="410">0.33557282438112951</cx:pt>
          <cx:pt idx="411">0.337285333726491</cx:pt>
          <cx:pt idx="412">0.33733174658419374</cx:pt>
          <cx:pt idx="413">0.33658378096266933</cx:pt>
          <cx:pt idx="414">0.32699178832184661</cx:pt>
          <cx:pt idx="415">0.32939172149671658</cx:pt>
          <cx:pt idx="416">0.31146127169291632</cx:pt>
          <cx:pt idx="417">0.32331552131670588</cx:pt>
          <cx:pt idx="418">0.31693093363949321</cx:pt>
          <cx:pt idx="419">0.31952485332091962</cx:pt>
          <cx:pt idx="420">0.31463287626329534</cx:pt>
          <cx:pt idx="421">0.34455827832308705</cx:pt>
          <cx:pt idx="422">0.34060695335369973</cx:pt>
          <cx:pt idx="423">0.33155097005967382</cx:pt>
          <cx:pt idx="424">0.33726949842701015</cx:pt>
          <cx:pt idx="425">0.35882404737033063</cx:pt>
          <cx:pt idx="426">0.35642510501855501</cx:pt>
          <cx:pt idx="427">0.35520291889673511</cx:pt>
          <cx:pt idx="428">0.35730956437082734</cx:pt>
          <cx:pt idx="429">0.36379885941932383</cx:pt>
          <cx:pt idx="430">0.36204746435438684</cx:pt>
          <cx:pt idx="431">0.35623425068310316</cx:pt>
          <cx:pt idx="432">0.35994182772563776</cx:pt>
          <cx:pt idx="433">0.36082361446912309</cx:pt>
          <cx:pt idx="434">0.36013450553962689</cx:pt>
          <cx:pt idx="435">0.35202557766813469</cx:pt>
          <cx:pt idx="436">0.33968765944679641</cx:pt>
          <cx:pt idx="437">0.34095803240645323</cx:pt>
          <cx:pt idx="438">0.33304278351365751</cx:pt>
          <cx:pt idx="439">0.34420515598761608</cx:pt>
          <cx:pt idx="440">0.35168056687039345</cx:pt>
          <cx:pt idx="441">0.35506721533284252</cx:pt>
          <cx:pt idx="442">0.35827915359171686</cx:pt>
          <cx:pt idx="443">0.37690042740510638</cx:pt>
          <cx:pt idx="444">0.39028339844509202</cx:pt>
          <cx:pt idx="445">0.39098407645863364</cx:pt>
          <cx:pt idx="446">0.38876849370553818</cx:pt>
          <cx:pt idx="447">0.37927960477790901</cx:pt>
          <cx:pt idx="448">0.37775856882217179</cx:pt>
          <cx:pt idx="449">0.37861188995961703</cx:pt>
          <cx:pt idx="450">0.37904369073134475</cx:pt>
          <cx:pt idx="451">0.38027374009738307</cx:pt>
          <cx:pt idx="452">0.35755607400383504</cx:pt>
          <cx:pt idx="453">0.36044675647730318</cx:pt>
          <cx:pt idx="454">0.3622660284076718</cx:pt>
          <cx:pt idx="455">0.34678914363257529</cx:pt>
          <cx:pt idx="456">0.33073354237750141</cx:pt>
          <cx:pt idx="457">0.33614792870451576</cx:pt>
          <cx:pt idx="458">0.32641397577128567</cx:pt>
          <cx:pt idx="459">0.32318952060660944</cx:pt>
          <cx:pt idx="460">0.321317572500597</cx:pt>
          <cx:pt idx="461">0.32710899842218144</cx:pt>
          <cx:pt idx="462">0.32680742846690097</cx:pt>
          <cx:pt idx="463">0.32369291556580476</cx:pt>
          <cx:pt idx="464">0.2993548373524208</cx:pt>
          <cx:pt idx="465">0.30721687370770018</cx:pt>
          <cx:pt idx="466">0.31379732654919634</cx:pt>
          <cx:pt idx="467">0.31597719247880002</cx:pt>
          <cx:pt idx="468">0.31187293360975393</cx:pt>
          <cx:pt idx="469">0.31385497643826238</cx:pt>
          <cx:pt idx="470">0.30218656040139946</cx:pt>
          <cx:pt idx="471">0.29812584647117446</cx:pt>
          <cx:pt idx="472">0.30900578476708268</cx:pt>
          <cx:pt idx="473">0.29888465488382121</cx:pt>
          <cx:pt idx="474">0.28613993403743693</cx:pt>
          <cx:pt idx="475">0.28644323869815447</cx:pt>
          <cx:pt idx="476">0.29491047991150487</cx:pt>
          <cx:pt idx="477">0.29243914363542578</cx:pt>
          <cx:pt idx="478">0.28856994715824058</cx:pt>
          <cx:pt idx="479">0.28641189334680861</cx:pt>
          <cx:pt idx="480">0.29639355992931316</cx:pt>
          <cx:pt idx="481">0.29219525779723171</cx:pt>
          <cx:pt idx="482">0.29700284063995097</cx:pt>
          <cx:pt idx="483">0.29343716396898345</cx:pt>
          <cx:pt idx="484">0.29997765224420719</cx:pt>
          <cx:pt idx="485">0.30336232670712548</cx:pt>
          <cx:pt idx="486">0.30132570487423138</cx:pt>
          <cx:pt idx="487">0.30660117880301185</cx:pt>
          <cx:pt idx="488">0.32261575645683216</cx:pt>
          <cx:pt idx="489">0.33054771355332291</cx:pt>
          <cx:pt idx="490">0.33864950494798729</cx:pt>
          <cx:pt idx="491">0.33323525706158624</cx:pt>
          <cx:pt idx="492">0.34268337430950763</cx:pt>
          <cx:pt idx="493">0.35036759122263589</cx:pt>
          <cx:pt idx="494">0.36021979780302049</cx:pt>
          <cx:pt idx="495">0.3596271666533713</cx:pt>
          <cx:pt idx="496">0.35166250053601328</cx:pt>
          <cx:pt idx="497">0.34686146898214809</cx:pt>
          <cx:pt idx="498">0.34545626163789489</cx:pt>
          <cx:pt idx="499">0.34977805481602353</cx:pt>
          <cx:pt idx="500">0.34904850655840269</cx:pt>
          <cx:pt idx="501">0.34189554857634258</cx:pt>
          <cx:pt idx="502">0.33268638354415642</cx:pt>
          <cx:pt idx="503">0.32417337066310797</cx:pt>
          <cx:pt idx="504">0.33325567073675999</cx:pt>
          <cx:pt idx="505">0.33281275095694829</cx:pt>
          <cx:pt idx="506">0.3188924718318244</cx:pt>
          <cx:pt idx="507">0.32039066467131544</cx:pt>
          <cx:pt idx="508">0.32085446781971877</cx:pt>
          <cx:pt idx="509">0.31726275830698503</cx:pt>
          <cx:pt idx="510">0.33609902596001529</cx:pt>
          <cx:pt idx="511">0.32771443210568207</cx:pt>
          <cx:pt idx="512">0.32590439033682284</cx:pt>
          <cx:pt idx="513">0.32147484288687794</cx:pt>
          <cx:pt idx="514">0.32316942739714138</cx:pt>
          <cx:pt idx="515">0.31054603373636491</cx:pt>
          <cx:pt idx="516">0.30263031409869223</cx:pt>
          <cx:pt idx="517">0.30420065715792449</cx:pt>
          <cx:pt idx="518">0.31383560472591404</cx:pt>
          <cx:pt idx="519">0.30555348406143784</cx:pt>
          <cx:pt idx="520">0.29933819085748703</cx:pt>
          <cx:pt idx="521">0.30012379639863301</cx:pt>
          <cx:pt idx="522">0.30648858536912765</cx:pt>
          <cx:pt idx="523">0.2912740187937426</cx:pt>
          <cx:pt idx="524">0.29111053505545492</cx:pt>
          <cx:pt idx="525">0.27453412183842507</cx:pt>
          <cx:pt idx="526">0.27374149644682894</cx:pt>
          <cx:pt idx="527">0.28928096280490417</cx:pt>
          <cx:pt idx="528">0.29065697670181567</cx:pt>
          <cx:pt idx="529">0.29903426621371165</cx:pt>
          <cx:pt idx="530">0.29781429940115356</cx:pt>
          <cx:pt idx="531">0.29920780090064014</cx:pt>
          <cx:pt idx="532">0.30248129345230296</cx:pt>
          <cx:pt idx="533">0.30047381963589298</cx:pt>
          <cx:pt idx="534">0.29305040562028034</cx:pt>
          <cx:pt idx="535">0.28897226612810456</cx:pt>
          <cx:pt idx="536">0.29194381593353957</cx:pt>
          <cx:pt idx="537">0.29288026960112534</cx:pt>
          <cx:pt idx="538">0.2788642174476712</cx:pt>
          <cx:pt idx="539">0.27066323521647639</cx:pt>
          <cx:pt idx="540">0.27285328442567541</cx:pt>
          <cx:pt idx="541">0.260781990595288</cx:pt>
          <cx:pt idx="542">0.2605667583554841</cx:pt>
          <cx:pt idx="543">0.26331747207749306</cx:pt>
          <cx:pt idx="544">0.26720626995536206</cx:pt>
          <cx:pt idx="545">0.27364654915162057</cx:pt>
          <cx:pt idx="546">0.28426328408398466</cx:pt>
          <cx:pt idx="547">0.28198930205139011</cx:pt>
          <cx:pt idx="548">0.28027748204220682</cx:pt>
          <cx:pt idx="549">0.26666812232077602</cx:pt>
          <cx:pt idx="550">0.26080777413532247</cx:pt>
          <cx:pt idx="551">0.26102373193152589</cx:pt>
          <cx:pt idx="552">0.26179650328331011</cx:pt>
          <cx:pt idx="553">0.25071586419941261</cx:pt>
          <cx:pt idx="554">0.24873827364141776</cx:pt>
          <cx:pt idx="555">0.24770943575642959</cx:pt>
          <cx:pt idx="556">0.24822588845329582</cx:pt>
          <cx:pt idx="557">0.24602580136553057</cx:pt>
          <cx:pt idx="558">0.23356452760740795</cx:pt>
          <cx:pt idx="559">0.23833679046585432</cx:pt>
          <cx:pt idx="560">0.23170530843272347</cx:pt>
          <cx:pt idx="561">0.23444981049531843</cx:pt>
          <cx:pt idx="562">0.23746355416253234</cx:pt>
          <cx:pt idx="563">0.24973731236257193</cx:pt>
          <cx:pt idx="564">0.2507462157999899</cx:pt>
          <cx:pt idx="565">0.26779342991494492</cx:pt>
          <cx:pt idx="566">0.26592489008534637</cx:pt>
          <cx:pt idx="567">0.26271607127717039</cx:pt>
          <cx:pt idx="568">0.2628776113004303</cx:pt>
          <cx:pt idx="569">0.27516835321987693</cx:pt>
          <cx:pt idx="570">0.2947018531254319</cx:pt>
          <cx:pt idx="571">0.29257391881184236</cx:pt>
          <cx:pt idx="572">0.31546685549843761</cx:pt>
          <cx:pt idx="573">0.35172435211566705</cx:pt>
          <cx:pt idx="574">0.39018076541143337</cx:pt>
          <cx:pt idx="575">0.41716453487694211</cx:pt>
          <cx:pt idx="576">0.42575632315200029</cx:pt>
          <cx:pt idx="577">0.44815615787352875</cx:pt>
          <cx:pt idx="578">0.46532894586587403</cx:pt>
          <cx:pt idx="579">0.488964746210026</cx:pt>
          <cx:pt idx="580">0.51074864706143519</cx:pt>
          <cx:pt idx="581">0.52255987080510691</cx:pt>
          <cx:pt idx="582">0.55227618865706363</cx:pt>
          <cx:pt idx="583">0.54765734523886067</cx:pt>
          <cx:pt idx="584">0.55123106099442987</cx:pt>
          <cx:pt idx="585">0.55500165845870197</cx:pt>
          <cx:pt idx="586">0.55580779378248224</cx:pt>
          <cx:pt idx="587">0.54264632539155166</cx:pt>
          <cx:pt idx="588">0.5334582569902705</cx:pt>
          <cx:pt idx="589">0.52867710000371493</cx:pt>
          <cx:pt idx="590">0.51589404666963812</cx:pt>
          <cx:pt idx="591">0.51358643167003992</cx:pt>
          <cx:pt idx="592">0.51393936773168403</cx:pt>
          <cx:pt idx="593">0.48956740055648523</cx:pt>
          <cx:pt idx="594">0.49263144104765977</cx:pt>
          <cx:pt idx="595">0.48503324444849288</cx:pt>
          <cx:pt idx="596">0.43869738240979389</cx:pt>
          <cx:pt idx="597">0.41999398581155506</cx:pt>
          <cx:pt idx="598">0.40410140778894743</cx:pt>
          <cx:pt idx="599">0.35529263233017266</cx:pt>
          <cx:pt idx="600">0.24716095573186778</cx:pt>
          <cx:pt idx="601">0.23728906084291856</cx:pt>
          <cx:pt idx="602">0.17719975609829369</cx:pt>
          <cx:pt idx="603">0.17207950740612063</cx:pt>
          <cx:pt idx="604">0.17479748293578712</cx:pt>
          <cx:pt idx="605">0.17633538146667124</cx:pt>
          <cx:pt idx="606">0.17606171075283325</cx:pt>
          <cx:pt idx="607">0.16737997872127008</cx:pt>
          <cx:pt idx="608">0.17388450575539088</cx:pt>
          <cx:pt idx="609">0.17816807098615611</cx:pt>
          <cx:pt idx="610">0.17830635538404929</cx:pt>
          <cx:pt idx="611">0.18151655022115809</cx:pt>
          <cx:pt idx="612">0.18139587825747619</cx:pt>
          <cx:pt idx="613">0.1719596130290571</cx:pt>
          <cx:pt idx="614">0.17723457501936801</cx:pt>
          <cx:pt idx="615">0.17813682823431329</cx:pt>
          <cx:pt idx="616">0.17476653162825537</cx:pt>
          <cx:pt idx="617">0.18819718465200605</cx:pt>
          <cx:pt idx="618">0.23511362506819636</cx:pt>
          <cx:pt idx="619">0.25756804517884141</cx:pt>
          <cx:pt idx="620">0.35494600762984407</cx:pt>
          <cx:pt idx="621">0.40227755795399112</cx:pt>
          <cx:pt idx="622">0.4369783215892189</cx:pt>
          <cx:pt idx="623">0.4738996050332856</cx:pt>
          <cx:pt idx="624">0.53384516834654816</cx:pt>
          <cx:pt idx="625">0.53760549510541067</cx:pt>
          <cx:pt idx="626">0.54895331712483453</cx:pt>
          <cx:pt idx="627">0.55154691333738004</cx:pt>
          <cx:pt idx="628">0.56209061780847069</cx:pt>
          <cx:pt idx="629">0.54820977247225289</cx:pt>
          <cx:pt idx="630">0.55902424042476662</cx:pt>
          <cx:pt idx="631">0.55250727798902111</cx:pt>
          <cx:pt idx="632">0.54446268987396063</cx:pt>
          <cx:pt idx="633">0.53677776497155416</cx:pt>
          <cx:pt idx="634">0.53697145865502194</cx:pt>
          <cx:pt idx="635">0.53119911848790546</cx:pt>
          <cx:pt idx="636">0.52348564043502721</cx:pt>
          <cx:pt idx="637">0.51127584101007095</cx:pt>
          <cx:pt idx="638">0.49241015290017004</cx:pt>
          <cx:pt idx="639">0.49810996067875912</cx:pt>
          <cx:pt idx="640">0.49367701671457948</cx:pt>
          <cx:pt idx="641">0.47844402859143365</cx:pt>
          <cx:pt idx="642">0.46934450901311875</cx:pt>
          <cx:pt idx="643">0.45470359762312995</cx:pt>
          <cx:pt idx="644">0.42051325071714968</cx:pt>
          <cx:pt idx="645">0.37824678028225261</cx:pt>
          <cx:pt idx="646">0.3567143692643997</cx:pt>
          <cx:pt idx="647">0.32529533260495908</cx:pt>
          <cx:pt idx="648">0.31845263626889658</cx:pt>
          <cx:pt idx="649">0.32251253272174418</cx:pt>
          <cx:pt idx="650">0.3193605464034277</cx:pt>
          <cx:pt idx="651">0.30566376454357896</cx:pt>
          <cx:pt idx="652">0.30735078088122669</cx:pt>
          <cx:pt idx="653">0.30944071727688571</cx:pt>
          <cx:pt idx="654">0.30926895785080644</cx:pt>
          <cx:pt idx="655">0.29417079070705521</cx:pt>
          <cx:pt idx="656">0.30864130886044744</cx:pt>
          <cx:pt idx="657">0.31213852535894349</cx:pt>
          <cx:pt idx="658">0.30926145735432586</cx:pt>
          <cx:pt idx="659">0.2996024239502621</cx:pt>
          <cx:pt idx="660">0.30030645764304764</cx:pt>
          <cx:pt idx="661">0.29708431668441154</cx:pt>
          <cx:pt idx="662">0.2973948840732229</cx:pt>
          <cx:pt idx="663">0.29335189009413731</cx:pt>
          <cx:pt idx="664">0.31848217466738926</cx:pt>
          <cx:pt idx="665">0.31746816329177374</cx:pt>
          <cx:pt idx="666">0.31093698941949033</cx:pt>
          <cx:pt idx="667">0.31904968135099282</cx:pt>
          <cx:pt idx="668">0.32657592286813469</cx:pt>
          <cx:pt idx="669">0.31799015764687827</cx:pt>
          <cx:pt idx="670">0.3222951670803641</cx:pt>
          <cx:pt idx="671">0.33216337197630658</cx:pt>
          <cx:pt idx="672">0.35230940396751254</cx:pt>
          <cx:pt idx="673">0.34709635821412654</cx:pt>
          <cx:pt idx="674">0.34252146390166832</cx:pt>
          <cx:pt idx="675">0.34996631503111925</cx:pt>
          <cx:pt idx="676">0.34294270338759691</cx:pt>
          <cx:pt idx="677">0.33747999903587594</cx:pt>
          <cx:pt idx="678">0.32344258392580205</cx:pt>
          <cx:pt idx="679">0.32023366452610702</cx:pt>
          <cx:pt idx="680">0.3209135589137489</cx:pt>
          <cx:pt idx="681">0.32736780810961957</cx:pt>
          <cx:pt idx="682">0.3270139980305809</cx:pt>
          <cx:pt idx="683">0.31957418154615319</cx:pt>
          <cx:pt idx="684">0.3187852721672359</cx:pt>
          <cx:pt idx="685">0.30904378001432248</cx:pt>
          <cx:pt idx="686">0.30833732460971325</cx:pt>
          <cx:pt idx="687">0.30768888064053335</cx:pt>
          <cx:pt idx="688">0.29962421196144101</cx:pt>
          <cx:pt idx="689">0.30910360132941289</cx:pt>
          <cx:pt idx="690">0.31342919020518006</cx:pt>
          <cx:pt idx="691">0.31441975652781123</cx:pt>
          <cx:pt idx="692">0.32051815181138366</cx:pt>
          <cx:pt idx="693">0.31781743335485263</cx:pt>
          <cx:pt idx="694">0.31760128776093344</cx:pt>
          <cx:pt idx="695">0.30754704120339177</cx:pt>
          <cx:pt idx="696">0.30675123396860138</cx:pt>
          <cx:pt idx="697">0.31013895998212926</cx:pt>
          <cx:pt idx="698">0.29270668979277281</cx:pt>
          <cx:pt idx="699">0.29424540480411898</cx:pt>
          <cx:pt idx="700">0.2896682003882311</cx:pt>
          <cx:pt idx="701">0.26706615402692274</cx:pt>
          <cx:pt idx="702">0.26375778626131946</cx:pt>
          <cx:pt idx="703">0.24750665307197847</cx:pt>
          <cx:pt idx="704">0.24419490884781941</cx:pt>
          <cx:pt idx="705">0.24430436273065037</cx:pt>
          <cx:pt idx="706">0.2379465935988006</cx:pt>
          <cx:pt idx="707">0.23971014867242971</cx:pt>
          <cx:pt idx="708">0.23983196246189559</cx:pt>
          <cx:pt idx="709">0.27228668302790726</cx:pt>
          <cx:pt idx="710">0.27356189030318789</cx:pt>
          <cx:pt idx="711">0.27808571699076629</cx:pt>
          <cx:pt idx="712">0.27402404163869903</cx:pt>
          <cx:pt idx="713">0.27559648350445909</cx:pt>
          <cx:pt idx="714">0.27461229794861819</cx:pt>
          <cx:pt idx="715">0.27328911682976226</cx:pt>
          <cx:pt idx="716">0.27606773386494055</cx:pt>
          <cx:pt idx="717">0.29727195661560668</cx:pt>
          <cx:pt idx="718">0.28964292124996677</cx:pt>
          <cx:pt idx="719">0.2896116048162381</cx:pt>
          <cx:pt idx="720">0.28505004680905321</cx:pt>
          <cx:pt idx="721">0.27343249705411588</cx:pt>
          <cx:pt idx="722">0.28713705000395984</cx:pt>
          <cx:pt idx="723">0.28451171185739982</cx:pt>
          <cx:pt idx="724">0.28861699160940291</cx:pt>
          <cx:pt idx="725">0.29010280889766993</cx:pt>
          <cx:pt idx="726">0.28924484812767715</cx:pt>
          <cx:pt idx="727">0.29735092691951809</cx:pt>
          <cx:pt idx="728">0.28754218157782313</cx:pt>
          <cx:pt idx="729">0.27981722608747667</cx:pt>
          <cx:pt idx="730">0.27942790003262158</cx:pt>
          <cx:pt idx="731">0.27907556631420566</cx:pt>
          <cx:pt idx="732">0.27959796021647548</cx:pt>
          <cx:pt idx="733">0.28752118320398751</cx:pt>
          <cx:pt idx="734">0.28935811037248693</cx:pt>
          <cx:pt idx="735">0.2888556903613122</cx:pt>
          <cx:pt idx="736">0.29050697939116538</cx:pt>
          <cx:pt idx="737">0.29186571596209449</cx:pt>
          <cx:pt idx="738">0.28742761623377638</cx:pt>
          <cx:pt idx="739">0.29667453571829405</cx:pt>
          <cx:pt idx="740">0.27555936387996677</cx:pt>
          <cx:pt idx="741">0.283900002661644</cx:pt>
          <cx:pt idx="742">0.26988989317688294</cx:pt>
          <cx:pt idx="743">0.27399268402722476</cx:pt>
          <cx:pt idx="744">0.26831801769717162</cx:pt>
          <cx:pt idx="745">0.26853300070349401</cx:pt>
          <cx:pt idx="746">0.26472990316428069</cx:pt>
          <cx:pt idx="747">0.26450979630139354</cx:pt>
          <cx:pt idx="748">0.25803148785299468</cx:pt>
          <cx:pt idx="749">0.26153031547003852</cx:pt>
          <cx:pt idx="750">0.25761560253892124</cx:pt>
          <cx:pt idx="751">0.25571664215981305</cx:pt>
          <cx:pt idx="752">0.27704130980432035</cx:pt>
          <cx:pt idx="753">0.26971651612048714</cx:pt>
          <cx:pt idx="754">0.27657326395894882</cx:pt>
          <cx:pt idx="755">0.27657326395894888</cx:pt>
          <cx:pt idx="756">0.27513907118865355</cx:pt>
          <cx:pt idx="757">0.27419036360984744</cx:pt>
          <cx:pt idx="758">0.29367148519238406</cx:pt>
          <cx:pt idx="759">0.29467725820994783</cx:pt>
          <cx:pt idx="760">0.29899046989611122</cx:pt>
          <cx:pt idx="761">0.29807455815138367</cx:pt>
          <cx:pt idx="762">0.29838856236231848</cx:pt>
          <cx:pt idx="763">0.30330047757351825</cx:pt>
          <cx:pt idx="764">0.29757649169097211</cx:pt>
          <cx:pt idx="765">0.294843127477668</cx:pt>
          <cx:pt idx="766">0.29484222802618792</cx:pt>
          <cx:pt idx="767">0.29531854773583338</cx:pt>
          <cx:pt idx="768">0.29621015330333983</cx:pt>
          <cx:pt idx="769">0.29830587492258259</cx:pt>
          <cx:pt idx="770">0.28782715531230263</cx:pt>
          <cx:pt idx="771">0.28951670909567762</cx:pt>
          <cx:pt idx="772">0.27659325833251108</cx:pt>
          <cx:pt idx="773">0.27962397584738419</cx:pt>
          <cx:pt idx="774">0.26960955000403636</cx:pt>
          <cx:pt idx="775">0.29893373952779895</cx:pt>
          <cx:pt idx="776">0.3007397057162049</cx:pt>
          <cx:pt idx="777">0.31122364760537102</cx:pt>
          <cx:pt idx="778">0.3180198740826839</cx:pt>
          <cx:pt idx="779">0.30747906539849845</cx:pt>
          <cx:pt idx="780">0.30615128774673173</cx:pt>
          <cx:pt idx="781">0.30693915351696999</cx:pt>
          <cx:pt idx="782">0.30569774084705148</cx:pt>
          <cx:pt idx="783">0.28630247851579554</cx:pt>
          <cx:pt idx="784">0.28196090383129246</cx:pt>
          <cx:pt idx="785">0.27579469117126543</cx:pt>
          <cx:pt idx="786">0.27368331445504479</cx:pt>
          <cx:pt idx="787">0.27431950738258148</cx:pt>
          <cx:pt idx="788">0.27366996732118054</cx:pt>
          <cx:pt idx="789">0.2468153254120182</cx:pt>
          <cx:pt idx="790">0.24538128466186609</cx:pt>
          <cx:pt idx="791">0.26563129577033617</cx:pt>
          <cx:pt idx="792">0.27933056355820746</cx:pt>
          <cx:pt idx="793">0.29512399775085751</cx:pt>
          <cx:pt idx="794">0.30657024147468287</cx:pt>
          <cx:pt idx="795">0.31283267231634171</cx:pt>
          <cx:pt idx="796">0.31535983033774723</cx:pt>
          <cx:pt idx="797">0.32221772453151343</cx:pt>
          <cx:pt idx="798">0.32029428440047525</cx:pt>
          <cx:pt idx="799">0.31887635982150098</cx:pt>
          <cx:pt idx="800">0.31891287912819394</cx:pt>
          <cx:pt idx="801">0.33286603726789804</cx:pt>
          <cx:pt idx="802">0.3304102239131777</cx:pt>
          <cx:pt idx="803">0.34702885178970161</cx:pt>
          <cx:pt idx="804">0.3437424047278152</cx:pt>
          <cx:pt idx="805">0.34067749607319159</cx:pt>
          <cx:pt idx="806">0.32672038618535204</cx:pt>
          <cx:pt idx="807">0.32438712324220631</cx:pt>
          <cx:pt idx="808">0.31263364476365463</cx:pt>
          <cx:pt idx="809">0.30628595746801296</cx:pt>
          <cx:pt idx="810">0.30631724242524594</cx:pt>
          <cx:pt idx="811">0.30480919234824422</cx:pt>
          <cx:pt idx="812">0.31345487690111629</cx:pt>
          <cx:pt idx="813">0.31760341655264845</cx:pt>
          <cx:pt idx="814">0.31501891504362417</cx:pt>
          <cx:pt idx="815">0.31746901447961057</cx:pt>
          <cx:pt idx="816">0.32419004033066356</cx:pt>
          <cx:pt idx="817">0.33669759880374145</cx:pt>
          <cx:pt idx="818">0.33492435210513494</cx:pt>
          <cx:pt idx="819">0.33888679262742283</cx:pt>
          <cx:pt idx="820">0.33888615765851826</cx:pt>
          <cx:pt idx="821">0.34029491352316987</cx:pt>
          <cx:pt idx="822">0.31828444377675041</cx:pt>
          <cx:pt idx="823">0.30863272493860233</cx:pt>
          <cx:pt idx="824">0.29506710834211131</cx:pt>
          <cx:pt idx="825">0.28251420376512199</cx:pt>
          <cx:pt idx="826">0.29257968921133631</cx:pt>
          <cx:pt idx="827">0.29278155824457242</cx:pt>
          <cx:pt idx="828">0.28724693256573752</cx:pt>
          <cx:pt idx="829">0.29983238738762319</cx:pt>
          <cx:pt idx="830">0.29917702102928179</cx:pt>
          <cx:pt idx="831">0.29750357286572515</cx:pt>
          <cx:pt idx="832">0.28223936427660873</cx:pt>
          <cx:pt idx="833">0.28244398086397343</cx:pt>
          <cx:pt idx="834">0.27560485435617121</cx:pt>
          <cx:pt idx="835">0.27726112295658917</cx:pt>
          <cx:pt idx="836">0.28109492288309768</cx:pt>
          <cx:pt idx="837">0.27150823004444591</cx:pt>
          <cx:pt idx="838">0.28739735973125535</cx:pt>
          <cx:pt idx="839">0.28744346328401604</cx:pt>
          <cx:pt idx="840">0.28641396037782874</cx:pt>
          <cx:pt idx="841">0.28641344181808037</cx:pt>
          <cx:pt idx="842">0.31674540596107831</cx:pt>
          <cx:pt idx="843">0.31729332634058055</cx:pt>
          <cx:pt idx="844">0.31626937675892364</cx:pt>
          <cx:pt idx="845">0.31518763903737917</cx:pt>
          <cx:pt idx="846">0.32041531722649597</cx:pt>
          <cx:pt idx="847">0.31496326850597983</cx:pt>
          <cx:pt idx="848">0.30422156216612356</cx:pt>
          <cx:pt idx="849">0.30436709509342064</cx:pt>
          <cx:pt idx="850">0.30102713340164949</cx:pt>
          <cx:pt idx="851">0.30608207619766459</cx:pt>
          <cx:pt idx="852">0.3053917229379276</cx:pt>
          <cx:pt idx="853">0.30526377413148864</cx:pt>
          <cx:pt idx="854">0.30601705238238153</cx:pt>
          <cx:pt idx="855">0.30666574139597796</cx:pt>
          <cx:pt idx="856">0.3186106208563026</cx:pt>
          <cx:pt idx="857">0.3144984253857448</cx:pt>
          <cx:pt idx="858">0.31294532619469362</cx:pt>
          <cx:pt idx="859">0.31899934890878701</cx:pt>
          <cx:pt idx="860">0.32124959481525089</cx:pt>
          <cx:pt idx="861">0.34311448083082041</cx:pt>
          <cx:pt idx="862">0.345862503277513</cx:pt>
          <cx:pt idx="863">0.3445425795181547</cx:pt>
          <cx:pt idx="864">0.34716904344284444</cx:pt>
          <cx:pt idx="865">0.33801652009296101</cx:pt>
          <cx:pt idx="866">0.34333763990555755</cx:pt>
          <cx:pt idx="867">0.34436248911600453</cx:pt>
          <cx:pt idx="868">0.33906394619377045</cx:pt>
          <cx:pt idx="869">0.32880505090187817</cx:pt>
          <cx:pt idx="870">0.33400186401652887</cx:pt>
          <cx:pt idx="871">0.33438853796548934</cx:pt>
          <cx:pt idx="872">0.33492458756485355</cx:pt>
          <cx:pt idx="873">0.31010312747210728</cx:pt>
          <cx:pt idx="874">0.2997875697503562</cx:pt>
          <cx:pt idx="875">0.3152038365810631</cx:pt>
          <cx:pt idx="876">0.3208790659114214</cx:pt>
          <cx:pt idx="877">0.32614144353967522</cx:pt>
          <cx:pt idx="878">0.32510587747240255</cx:pt>
          <cx:pt idx="879">0.32317003993034121</cx:pt>
          <cx:pt idx="880">0.33400114459766067</cx:pt>
          <cx:pt idx="881">0.33512459183601506</cx:pt>
          <cx:pt idx="882">0.33982163159607864</cx:pt>
          <cx:pt idx="883">0.34087979321636286</cx:pt>
          <cx:pt idx="884">0.34120173092825817</cx:pt>
          <cx:pt idx="885">0.34174105276160177</cx:pt>
          <cx:pt idx="886">0.34074721776684408</cx:pt>
          <cx:pt idx="887">0.31811514391791451</cx:pt>
          <cx:pt idx="888">0.34369346479906299</cx:pt>
          <cx:pt idx="889">0.34525198862475703</cx:pt>
          <cx:pt idx="890">0.33840780085685623</cx:pt>
          <cx:pt idx="891">0.33022846957631485</cx:pt>
          <cx:pt idx="892">0.30829449204665055</cx:pt>
          <cx:pt idx="893">0.30496099209422273</cx:pt>
          <cx:pt idx="894">0.31027073448157771</cx:pt>
          <cx:pt idx="895">0.30571603623622645</cx:pt>
          <cx:pt idx="896">0.30462150112760222</cx:pt>
          <cx:pt idx="897">0.30048426671657863</cx:pt>
          <cx:pt idx="898">0.29119718617485557</cx:pt>
          <cx:pt idx="899">0.2913272281334911</cx:pt>
          <cx:pt idx="900">0.29204867423335812</cx:pt>
          <cx:pt idx="901">0.29041984636698498</cx:pt>
          <cx:pt idx="902">0.31099303135965495</cx:pt>
          <cx:pt idx="903">0.3109236890841654</cx:pt>
          <cx:pt idx="904">0.32149724553418085</cx:pt>
          <cx:pt idx="905">0.32489203420362361</cx:pt>
          <cx:pt idx="906">0.30376560218656967</cx:pt>
          <cx:pt idx="907">0.3052565235982746</cx:pt>
          <cx:pt idx="908">0.28955302708173414</cx:pt>
          <cx:pt idx="909">0.29779154366580879</cx:pt>
          <cx:pt idx="910">0.30018568151735742</cx:pt>
          <cx:pt idx="911">0.29265814823583614</cx:pt>
          <cx:pt idx="912">0.29158943070511301</cx:pt>
          <cx:pt idx="913">0.28862453061941945</cx:pt>
          <cx:pt idx="914">0.28967840912441728</cx:pt>
          <cx:pt idx="915">0.2884252986105334</cx:pt>
          <cx:pt idx="916">0.28517760057346586</cx:pt>
          <cx:pt idx="917">0.29219825834806751</cx:pt>
          <cx:pt idx="918">0.30730000886858488</cx:pt>
          <cx:pt idx="919">0.28312258397062035</cx:pt>
          <cx:pt idx="920">0.28373638289518516</cx:pt>
          <cx:pt idx="921">0.28336499115660035</cx:pt>
          <cx:pt idx="922">0.29334971102394025</cx:pt>
          <cx:pt idx="923">0.29514276935653755</cx:pt>
          <cx:pt idx="924">0.30434183348988236</cx:pt>
          <cx:pt idx="925">0.297279761972854</cx:pt>
          <cx:pt idx="926">0.29483105029798362</cx:pt>
          <cx:pt idx="927">0.29778177330198263</cx:pt>
          <cx:pt idx="928">0.29106154903858272</cx:pt>
          <cx:pt idx="929">0.29447901843171537</cx:pt>
          <cx:pt idx="930">0.29570080766168183</cx:pt>
          <cx:pt idx="931">0.29366439154812962</cx:pt>
          <cx:pt idx="932">0.29728806737280761</cx:pt>
          <cx:pt idx="933">0.28071017704164664</cx:pt>
          <cx:pt idx="934">0.28166038602647586</cx:pt>
          <cx:pt idx="935">0.27074177816387868</cx:pt>
          <cx:pt idx="936">0.26669763866529084</cx:pt>
          <cx:pt idx="937">0.26761333579260693</cx:pt>
          <cx:pt idx="938">0.26416612253520089</cx:pt>
          <cx:pt idx="939">0.26465009965638309</cx:pt>
          <cx:pt idx="940">0.28135558039345288</cx:pt>
          <cx:pt idx="941">0.27256664938356301</cx:pt>
          <cx:pt idx="942">0.27348377484170183</cx:pt>
          <cx:pt idx="943">0.27742478101225987</cx:pt>
          <cx:pt idx="944">0.27251872109057146</cx:pt>
          <cx:pt idx="945">0.26994061859152735</cx:pt>
          <cx:pt idx="946">0.28189669328582539</cx:pt>
          <cx:pt idx="947">0.28140761257946617</cx:pt>
          <cx:pt idx="948">0.26422522759620815</cx:pt>
          <cx:pt idx="949">0.25067953085622852</cx:pt>
          <cx:pt idx="950">0.25741482520625242</cx:pt>
          <cx:pt idx="951">0.25329281592229119</cx:pt>
          <cx:pt idx="952">0.25535436783665433</cx:pt>
          <cx:pt idx="953">0.26467745375650781</cx:pt>
          <cx:pt idx="954">0.27159149562038326</cx:pt>
          <cx:pt idx="955">0.26495083840256844</cx:pt>
          <cx:pt idx="956">0.27689986441638265</cx:pt>
          <cx:pt idx="957">0.2817168492842595</cx:pt>
          <cx:pt idx="958">0.30916241483329865</cx:pt>
          <cx:pt idx="959">0.3115522947282619</cx:pt>
          <cx:pt idx="960">0.31358749024931443</cx:pt>
          <cx:pt idx="961">0.31516351710888824</cx:pt>
          <cx:pt idx="962">0.31332534990948896</cx:pt>
          <cx:pt idx="963">0.32118308225849529</cx:pt>
          <cx:pt idx="964">0.32222879255617176</cx:pt>
          <cx:pt idx="965">0.3271346559155825</cx:pt>
          <cx:pt idx="966">0.33105934978529816</cx:pt>
          <cx:pt idx="967">0.33219654203613608</cx:pt>
          <cx:pt idx="968">0.32983231970950855</cx:pt>
          <cx:pt idx="969">0.32478853099349919</cx:pt>
          <cx:pt idx="970">0.32466688702036117</cx:pt>
          <cx:pt idx="971">0.30416372162348482</cx:pt>
          <cx:pt idx="972">0.30368368936844031</cx:pt>
          <cx:pt idx="973">0.30269310803588251</cx:pt>
          <cx:pt idx="974">0.29717903544595309</cx:pt>
          <cx:pt idx="975">0.31496295091761828</cx:pt>
          <cx:pt idx="976">0.31506151269592475</cx:pt>
          <cx:pt idx="977">0.30400296262428411</cx:pt>
          <cx:pt idx="978">0.31926892705503429</cx:pt>
          <cx:pt idx="979">0.31851770341229629</cx:pt>
          <cx:pt idx="980">0.31879019234524736</cx:pt>
          <cx:pt idx="981">0.30491762196604555</cx:pt>
          <cx:pt idx="982">0.31733760492151913</cx:pt>
          <cx:pt idx="983">0.31501895142493053</cx:pt>
          <cx:pt idx="984">0.31014566186354037</cx:pt>
          <cx:pt idx="985">0.30846352828671569</cx:pt>
          <cx:pt idx="986">0.30360437417368513</cx:pt>
          <cx:pt idx="987">0.30929275996119138</cx:pt>
          <cx:pt idx="988">0.30308385090698353</cx:pt>
          <cx:pt idx="989">0.28364146295655673</cx:pt>
          <cx:pt idx="990">0.27837902155488597</cx:pt>
          <cx:pt idx="991">0.28815508911409826</cx:pt>
          <cx:pt idx="992">0.3027401670315672</cx:pt>
          <cx:pt idx="993">0.30265642605898874</cx:pt>
          <cx:pt idx="994">0.28599239571286539</cx:pt>
          <cx:pt idx="995">0.28487708451673105</cx:pt>
          <cx:pt idx="996">0.29085488684491095</cx:pt>
          <cx:pt idx="997">0.29010791157620996</cx:pt>
          <cx:pt idx="998">0.29073754479901115</cx:pt>
          <cx:pt idx="999">0.29130228486449955</cx:pt>
          <cx:pt idx="1000">0.29417769351305817</cx:pt>
          <cx:pt idx="1001">0.30148635160600851</cx:pt>
          <cx:pt idx="1002">0.3153169960577818</cx:pt>
          <cx:pt idx="1003">0.31624525154788324</cx:pt>
          <cx:pt idx="1004">0.31775828420386465</cx:pt>
          <cx:pt idx="1005">0.31717191076105028</cx:pt>
          <cx:pt idx="1006">0.30462603685095013</cx:pt>
          <cx:pt idx="1007">0.30474453908437937</cx:pt>
          <cx:pt idx="1008">0.30336643780667527</cx:pt>
          <cx:pt idx="1009">0.29559864634711935</cx:pt>
          <cx:pt idx="1010">0.30559906871692261</cx:pt>
          <cx:pt idx="1011">0.33859974624981265</cx:pt>
          <cx:pt idx="1012">0.37290227708490509</cx:pt>
          <cx:pt idx="1013">0.38163363695608377</cx:pt>
          <cx:pt idx="1014">0.42117021005281613</cx:pt>
          <cx:pt idx="1015">0.4365027644578206</cx:pt>
          <cx:pt idx="1016">0.46552414474275933</cx:pt>
          <cx:pt idx="1017">0.48899892699726027</cx:pt>
          <cx:pt idx="1018">0.47824729589922582</cx:pt>
          <cx:pt idx="1019">0.49645329496727808</cx:pt>
          <cx:pt idx="1020">0.51186175897874753</cx:pt>
          <cx:pt idx="1021">0.52009912707868988</cx:pt>
          <cx:pt idx="1022">0.53977193573878834</cx:pt>
          <cx:pt idx="1023">0.5469860464001296</cx:pt>
          <cx:pt idx="1024">0.55008936313992229</cx:pt>
          <cx:pt idx="1025">0.55651525348714415</cx:pt>
          <cx:pt idx="1026">0.56706094858937051</cx:pt>
          <cx:pt idx="1027">0.55778812856488036</cx:pt>
          <cx:pt idx="1028">0.55300372225199435</cx:pt>
          <cx:pt idx="1029">0.54318050876188284</cx:pt>
          <cx:pt idx="1030">0.54117848337038044</cx:pt>
          <cx:pt idx="1031">0.54101861727158207</cx:pt>
          <cx:pt idx="1032">0.51701851466126136</cx:pt>
          <cx:pt idx="1033">0.47539491052419985</cx:pt>
          <cx:pt idx="1034">0.45372016066725634</cx:pt>
          <cx:pt idx="1035">0.42440685710680148</cx:pt>
          <cx:pt idx="1036">0.3965279146873848</cx:pt>
          <cx:pt idx="1037">0.35962187708370635</cx:pt>
          <cx:pt idx="1038">0.31907856669400952</cx:pt>
          <cx:pt idx="1039">0.28038106863533563</cx:pt>
          <cx:pt idx="1040">0.14547349815048949</cx:pt>
          <cx:pt idx="1041">0.12185219587233945</cx:pt>
          <cx:pt idx="1042">0.11970354371029091</cx:pt>
          <cx:pt idx="1043">0.13854908555339759</cx:pt>
          <cx:pt idx="1044">0.14118741217246727</cx:pt>
          <cx:pt idx="1045">0.15420202796609173</cx:pt>
          <cx:pt idx="1046">0.15972092059462559</cx:pt>
          <cx:pt idx="1047">0.16033609419052042</cx:pt>
          <cx:pt idx="1048">0.16024936956524929</cx:pt>
          <cx:pt idx="1049">0.16024237081279694</cx:pt>
          <cx:pt idx="1050">0.16404336697136232</cx:pt>
          <cx:pt idx="1051">0.16518822875833492</cx:pt>
          <cx:pt idx="1052">0.16825951716875859</cx:pt>
          <cx:pt idx="1053">0.17882419968728014</cx:pt>
          <cx:pt idx="1054">0.17856368341511669</cx:pt>
          <cx:pt idx="1055">0.33622609416285365</cx:pt>
          <cx:pt idx="1056">0.41762750890448197</cx:pt>
          <cx:pt idx="1057">0.45366650218814053</cx:pt>
          <cx:pt idx="1058">0.49051100836237649</cx:pt>
          <cx:pt idx="1059">0.50368495493303023</cx:pt>
          <cx:pt idx="1060">0.54021563465690547</cx:pt>
          <cx:pt idx="1061">0.59515013905270064</cx:pt>
          <cx:pt idx="1062">0.62202262317423074</cx:pt>
          <cx:pt idx="1063">0.6410089525655005</cx:pt>
          <cx:pt idx="1064">0.67413764676170895</cx:pt>
          <cx:pt idx="1065">0.69250728010470397</cx:pt>
          <cx:pt idx="1066">0.72048124269199543</cx:pt>
          <cx:pt idx="1067">0.7266373140455874</cx:pt>
          <cx:pt idx="1068">0.72230804196147569</cx:pt>
          <cx:pt idx="1069">0.71957030366550434</cx:pt>
          <cx:pt idx="1070">0.70902231507100855</cx:pt>
          <cx:pt idx="1071">0.70184772678866458</cx:pt>
          <cx:pt idx="1072">0.6891166524732848</cx:pt>
          <cx:pt idx="1073">0.67961937500629144</cx:pt>
          <cx:pt idx="1074">0.67702520213021533</cx:pt>
          <cx:pt idx="1075">0.65685938447239967</cx:pt>
          <cx:pt idx="1076">0.62690547419432396</cx:pt>
          <cx:pt idx="1077">0.62501947212662412</cx:pt>
          <cx:pt idx="1078">0.60352117736344257</cx:pt>
          <cx:pt idx="1079">0.57787315807386919</cx:pt>
          <cx:pt idx="1080">0.5468339412449158</cx:pt>
          <cx:pt idx="1081">0.50590335854376434</cx:pt>
          <cx:pt idx="1082">0.48039166520781884</cx:pt>
          <cx:pt idx="1083">0.42270785983551051</cx:pt>
          <cx:pt idx="1084">0.34186033988240488</cx:pt>
          <cx:pt idx="1085">0.29062023464831782</cx:pt>
          <cx:pt idx="1086">0.28263273271514971</cx:pt>
          <cx:pt idx="1087">0.27707411664852782</cx:pt>
          <cx:pt idx="1088">0.28612344379710214</cx:pt>
          <cx:pt idx="1089">0.30385679896186052</cx:pt>
          <cx:pt idx="1090">0.31143179913349556</cx:pt>
          <cx:pt idx="1091">0.33630611739786004</cx:pt>
          <cx:pt idx="1092">0.32169787712310333</cx:pt>
          <cx:pt idx="1093">0.32431552082911058</cx:pt>
          <cx:pt idx="1094">0.32958809662939176</cx:pt>
          <cx:pt idx="1095">0.31936616884980323</cx:pt>
          <cx:pt idx="1096">0.32340800447209295</cx:pt>
          <cx:pt idx="1097">0.31452944414134831</cx:pt>
          <cx:pt idx="1098">0.31574756053367359</cx:pt>
          <cx:pt idx="1099">0.31572835148945466</cx:pt>
          <cx:pt idx="1100">0.32960128613406631</cx:pt>
          <cx:pt idx="1101">0.33740460728824861</cx:pt>
          <cx:pt idx="1102">0.33749194833365198</cx:pt>
          <cx:pt idx="1103">0.34853685663855249</cx:pt>
          <cx:pt idx="1104">0.34041091466515744</cx:pt>
          <cx:pt idx="1105">0.33460261546652581</cx:pt>
          <cx:pt idx="1106">0.33338987324242009</cx:pt>
          <cx:pt idx="1107">0.33676530396010057</cx:pt>
          <cx:pt idx="1108">0.3334513002681383</cx:pt>
          <cx:pt idx="1109">0.33815054818515117</cx:pt>
          <cx:pt idx="1110">0.3502313464371839</cx:pt>
          <cx:pt idx="1111">0.35385153665093366</cx:pt>
          <cx:pt idx="1112">0.35064988298267286</cx:pt>
          <cx:pt idx="1113">0.34885371961080863</cx:pt>
          <cx:pt idx="1114">0.35160039138771559</cx:pt>
          <cx:pt idx="1115">0.3554012874511201</cx:pt>
          <cx:pt idx="1116">0.35323493655976579</cx:pt>
          <cx:pt idx="1117">0.35540831777368975</cx:pt>
          <cx:pt idx="1118">0.36110542112775695</cx:pt>
          <cx:pt idx="1119">0.3611319493195127</cx:pt>
          <cx:pt idx="1120">0.35372066331922963</cx:pt>
          <cx:pt idx="1121">0.35910956427649587</cx:pt>
          <cx:pt idx="1122">0.33413179443339208</cx:pt>
          <cx:pt idx="1123">0.34278979547236216</cx:pt>
          <cx:pt idx="1124">0.33488711340001714</cx:pt>
          <cx:pt idx="1125">0.34095524293004514</cx:pt>
          <cx:pt idx="1126">0.34842349129767458</cx:pt>
          <cx:pt idx="1127">0.35581684783602507</cx:pt>
          <cx:pt idx="1128">0.37205795766399424</cx:pt>
          <cx:pt idx="1129">0.37364333536199956</cx:pt>
          <cx:pt idx="1130">0.37929043916472616</cx:pt>
          <cx:pt idx="1131">0.38300818523269603</cx:pt>
          <cx:pt idx="1132">0.37979267595782484</cx:pt>
          <cx:pt idx="1133">0.38006857800443972</cx:pt>
          <cx:pt idx="1134">0.37663778197822778</cx:pt>
          <cx:pt idx="1135">0.38459715819747597</cx:pt>
          <cx:pt idx="1136">0.38576204422009508</cx:pt>
          <cx:pt idx="1137">0.38690639960691442</cx:pt>
          <cx:pt idx="1138">0.38754284709517134</cx:pt>
          <cx:pt idx="1139">0.38938761916495995</cx:pt>
          <cx:pt idx="1140">0.38311331810701577</cx:pt>
          <cx:pt idx="1141">0.37646658668571353</cx:pt>
          <cx:pt idx="1142">0.37949479903444627</cx:pt>
          <cx:pt idx="1143">0.3811955179407015</cx:pt>
          <cx:pt idx="1144">0.38019297023031129</cx:pt>
          <cx:pt idx="1145">0.38268843873526015</cx:pt>
          <cx:pt idx="1146">0.37773210809541663</cx:pt>
          <cx:pt idx="1147">0.37828642301467807</cx:pt>
          <cx:pt idx="1148">0.37410406209358521</cx:pt>
          <cx:pt idx="1149">0.36952222968399207</cx:pt>
          <cx:pt idx="1150">0.36445037824829163</cx:pt>
          <cx:pt idx="1151">0.35671973724505895</cx:pt>
          <cx:pt idx="1152">0.34790460383200261</cx:pt>
          <cx:pt idx="1153">0.34855895427999101</cx:pt>
          <cx:pt idx="1154">0.34212115036190266</cx:pt>
          <cx:pt idx="1155">0.34419655588986142</cx:pt>
          <cx:pt idx="1156">0.34161677650300176</cx:pt>
          <cx:pt idx="1157">0.33391874921409798</cx:pt>
          <cx:pt idx="1158">0.31817894917890538</cx:pt>
          <cx:pt idx="1159">0.30227642487778805</cx:pt>
          <cx:pt idx="1160">0.29844159914389901</cx:pt>
          <cx:pt idx="1161">0.30302870799349202</cx:pt>
          <cx:pt idx="1162">0.29160238074217282</cx:pt>
          <cx:pt idx="1163">0.31981910486394066</cx:pt>
          <cx:pt idx="1164">0.3455753255581232</cx:pt>
          <cx:pt idx="1165">0.34036549090766971</cx:pt>
          <cx:pt idx="1166">0.33863683155524116</cx:pt>
          <cx:pt idx="1167">0.34146514412794304</cx:pt>
          <cx:pt idx="1168">0.34470311379116564</cx:pt>
          <cx:pt idx="1169">0.34019240193187811</cx:pt>
          <cx:pt idx="1170">0.35461131191674572</cx:pt>
          <cx:pt idx="1171">0.35816378798418658</cx:pt>
          <cx:pt idx="1172">0.35646022208601108</cx:pt>
          <cx:pt idx="1173">0.35144153002016215</cx:pt>
          <cx:pt idx="1174">0.34774623008427391</cx:pt>
          <cx:pt idx="1175">0.3511599000743188</cx:pt>
          <cx:pt idx="1176">0.34500318127277918</cx:pt>
          <cx:pt idx="1177">0.33663187019230961</cx:pt>
          <cx:pt idx="1178">0.34802879242160645</cx:pt>
          <cx:pt idx="1179">0.3474682908686389</cx:pt>
          <cx:pt idx="1180">0.3472060666283997</cx:pt>
          <cx:pt idx="1181">0.37030741500073228</cx:pt>
          <cx:pt idx="1182">0.38974845679975256</cx:pt>
          <cx:pt idx="1183">0.38974845679975501</cx:pt>
          <cx:pt idx="1184">0.38990787504486019</cx:pt>
          <cx:pt idx="1185">0.38639096505284792</cx:pt>
          <cx:pt idx="1186">0.38843157107741788</cx:pt>
          <cx:pt idx="1187">0.38772030817122349</cx:pt>
          <cx:pt idx="1188">0.3848142741998325</cx:pt>
          <cx:pt idx="1189">0.38312559258803286</cx:pt>
          <cx:pt idx="1190">0.38144849027967559</cx:pt>
          <cx:pt idx="1191">0.38481270685779639</cx:pt>
          <cx:pt idx="1192">0.38057583990296273</cx:pt>
          <cx:pt idx="1193">0.38523035469624572</cx:pt>
          <cx:pt idx="1194">0.37761131869126824</cx:pt>
          <cx:pt idx="1195">0.35552947213830177</cx:pt>
          <cx:pt idx="1196">0.37136539878130309</cx:pt>
          <cx:pt idx="1197">0.36380472409636355</cx:pt>
          <cx:pt idx="1198">0.35932543384353943</cx:pt>
          <cx:pt idx="1199">0.3577455837439969</cx:pt>
          <cx:pt idx="1200">0.36501173797494579</cx:pt>
          <cx:pt idx="1201">0.35127626616909113</cx:pt>
          <cx:pt idx="1202">0.34776956345404303</cx:pt>
          <cx:pt idx="1203">0.38729681175447234</cx:pt>
          <cx:pt idx="1204">0.41638868951292313</cx:pt>
          <cx:pt idx="1205">0.44337631063001515</cx:pt>
          <cx:pt idx="1206">0.46881447370522655</cx:pt>
          <cx:pt idx="1207">0.49308397556912459</cx:pt>
          <cx:pt idx="1208">0.50485792645270966</cx:pt>
          <cx:pt idx="1209">0.51063430339231719</cx:pt>
          <cx:pt idx="1210">0.52364043043244379</cx:pt>
          <cx:pt idx="1211">0.52511494226324651</cx:pt>
          <cx:pt idx="1212">0.54000202011922349</cx:pt>
          <cx:pt idx="1213">0.5122973576347557</cx:pt>
          <cx:pt idx="1214">0.49975443812899439</cx:pt>
          <cx:pt idx="1215">0.5154958501092376</cx:pt>
          <cx:pt idx="1216">0.50793779553852225</cx:pt>
          <cx:pt idx="1217">0.50913755911859193</cx:pt>
          <cx:pt idx="1218">0.51645153696573198</cx:pt>
          <cx:pt idx="1219">0.515786675271666</cx:pt>
          <cx:pt idx="1220">0.51405846228970908</cx:pt>
          <cx:pt idx="1221">0.52083949984517053</cx:pt>
          <cx:pt idx="1222">0.52012571364120019</cx:pt>
          <cx:pt idx="1223">0.5045744270632273</cx:pt>
          <cx:pt idx="1224">0.47906670958229219</cx:pt>
          <cx:pt idx="1225">0.42209383867999528</cx:pt>
          <cx:pt idx="1226">0.41175403135450206</cx:pt>
          <cx:pt idx="1227">0.41187755530383086</cx:pt>
          <cx:pt idx="1228">0.38713771664068375</cx:pt>
          <cx:pt idx="1229">0.34593205834789342</cx:pt>
          <cx:pt idx="1230">0.32309679272783476</cx:pt>
          <cx:pt idx="1231">0.31286220279816435</cx:pt>
          <cx:pt idx="1232">0.23902300443235638</cx:pt>
          <cx:pt idx="1233">0.1899391626887961</cx:pt>
          <cx:pt idx="1234">0.19117280219310295</cx:pt>
          <cx:pt idx="1235">0.20179540651631939</cx:pt>
          <cx:pt idx="1236">0.20170162258994337</cx:pt>
          <cx:pt idx="1237">0.20256795328733615</cx:pt>
          <cx:pt idx="1238">0.20714445971533757</cx:pt>
          <cx:pt idx="1239">0.20988923172659774</cx:pt>
          <cx:pt idx="1240">0.20829846489873377</cx:pt>
          <cx:pt idx="1241">0.21173421014930618</cx:pt>
          <cx:pt idx="1242">0.20657730791154624</cx:pt>
          <cx:pt idx="1243">0.21369899524073574</cx:pt>
          <cx:pt idx="1244">0.20881803345299324</cx:pt>
          <cx:pt idx="1245">0.21048377467184512</cx:pt>
          <cx:pt idx="1246">0.20570599303477294</cx:pt>
          <cx:pt idx="1247">0.21872642115364183</cx:pt>
          <cx:pt idx="1248">0.27347817753277065</cx:pt>
          <cx:pt idx="1249">0.33867995690873209</cx:pt>
          <cx:pt idx="1250">0.38442327391725878</cx:pt>
          <cx:pt idx="1251">0.3837000049585606</cx:pt>
          <cx:pt idx="1252">0.4182851514289489</cx:pt>
          <cx:pt idx="1253">0.45307150576492083</cx:pt>
          <cx:pt idx="1254">0.47470086214708029</cx:pt>
          <cx:pt idx="1255">0.49140863332286894</cx:pt>
          <cx:pt idx="1256">0.53286333604375402</cx:pt>
          <cx:pt idx="1257">0.52822230600972708</cx:pt>
          <cx:pt idx="1258">0.55446280000008319</cx:pt>
          <cx:pt idx="1259">0.55595191758111062</cx:pt>
          <cx:pt idx="1260">0.55065913742274586</cx:pt>
          <cx:pt idx="1261">0.54849339164439159</cx:pt>
          <cx:pt idx="1262">0.5528893007009531</cx:pt>
          <cx:pt idx="1263">0.54870963957222951</cx:pt>
          <cx:pt idx="1264">0.54556077806429026</cx:pt>
          <cx:pt idx="1265">0.53451074235003337</cx:pt>
          <cx:pt idx="1266">0.5123663264007069</cx:pt>
          <cx:pt idx="1267">0.51687502076692682</cx:pt>
          <cx:pt idx="1268">0.50214292181830122</cx:pt>
          <cx:pt idx="1269">0.50627774448382712</cx:pt>
          <cx:pt idx="1270">0.48416044800320218</cx:pt>
          <cx:pt idx="1271">0.45519609560725915</cx:pt>
          <cx:pt idx="1272">0.45907088400122353</cx:pt>
          <cx:pt idx="1273">0.44106913495132472</cx:pt>
          <cx:pt idx="1274">0.38955445805994748</cx:pt>
          <cx:pt idx="1275">0.36315982962565774</cx:pt>
          <cx:pt idx="1276">0.31695258067130988</cx:pt>
          <cx:pt idx="1277">0.28905899978303184</cx:pt>
          <cx:pt idx="1278">0.27720845365987196</cx:pt>
          <cx:pt idx="1279">0.2772859339903106</cx:pt>
          <cx:pt idx="1280">0.28118281868999201</cx:pt>
          <cx:pt idx="1281">0.29353445391901611</cx:pt>
          <cx:pt idx="1282">0.29218735797371487</cx:pt>
          <cx:pt idx="1283">0.30057509587717335</cx:pt>
          <cx:pt idx="1284">0.30110485629025302</cx:pt>
          <cx:pt idx="1285">0.30332369239667922</cx:pt>
          <cx:pt idx="1286">0.31067815052424047</cx:pt>
          <cx:pt idx="1287">0.31296296759122205</cx:pt>
          <cx:pt idx="1288">0.30657931164823499</cx:pt>
          <cx:pt idx="1289">0.33018461156386186</cx:pt>
          <cx:pt idx="1290">0.33105162975479963</cx:pt>
          <cx:pt idx="1291">0.33336581590791692</cx:pt>
          <cx:pt idx="1292">0.32027124976166438</cx:pt>
          <cx:pt idx="1293">0.32246607248175407</cx:pt>
          <cx:pt idx="1294">0.33030283439190677</cx:pt>
          <cx:pt idx="1295">0.34316486035683841</cx:pt>
          <cx:pt idx="1296">0.33895169708282274</cx:pt>
          <cx:pt idx="1297">0.34523703046930093</cx:pt>
          <cx:pt idx="1298">0.34946896692605994</cx:pt>
          <cx:pt idx="1299">0.34937685130885721</cx:pt>
          <cx:pt idx="1300">0.35133375555156227</cx:pt>
          <cx:pt idx="1301">0.35045519878833353</cx:pt>
          <cx:pt idx="1302">0.35004979763340854</cx:pt>
          <cx:pt idx="1303">0.34878389161147799</cx:pt>
          <cx:pt idx="1304">0.34513055632374784</cx:pt>
          <cx:pt idx="1305">0.34789934959720992</cx:pt>
          <cx:pt idx="1306">0.3524325651455521</cx:pt>
          <cx:pt idx="1307">0.34136336936961476</cx:pt>
          <cx:pt idx="1308">0.33940589816403205</cx:pt>
          <cx:pt idx="1309">0.34685492896426917</cx:pt>
          <cx:pt idx="1310">0.34718133767253795</cx:pt>
          <cx:pt idx="1311">0.35559613119477496</cx:pt>
          <cx:pt idx="1312">0.34815801379471817</cx:pt>
          <cx:pt idx="1313">0.33878441325438347</cx:pt>
          <cx:pt idx="1314">0.33417688010554625</cx:pt>
          <cx:pt idx="1315">0.33141831444868686</cx:pt>
          <cx:pt idx="1316">0.32879318817728065</cx:pt>
          <cx:pt idx="1317">0.31500490792842206</cx:pt>
          <cx:pt idx="1318">0.31097869135804695</cx:pt>
          <cx:pt idx="1319">0.31440778003385311</cx:pt>
          <cx:pt idx="1320">0.29653715718091112</cx:pt>
          <cx:pt idx="1321">0.29356033665233772</cx:pt>
          <cx:pt idx="1322">0.31515405759020776</cx:pt>
          <cx:pt idx="1323">0.32897883331408634</cx:pt>
          <cx:pt idx="1324">0.3474004331195788</cx:pt>
          <cx:pt idx="1325">0.33368593534142627</cx:pt>
          <cx:pt idx="1326">0.31992143545429852</cx:pt>
          <cx:pt idx="1327">0.32602675032860018</cx:pt>
          <cx:pt idx="1328">0.3127679353175572</cx:pt>
          <cx:pt idx="1329">0.31089613640039088</cx:pt>
          <cx:pt idx="1330">0.31065495072671123</cx:pt>
          <cx:pt idx="1331">0.31264613434540034</cx:pt>
          <cx:pt idx="1332">0.31429055797709754</cx:pt>
          <cx:pt idx="1333">0.32465179404051436</cx:pt>
          <cx:pt idx="1334">0.32662278743662326</cx:pt>
          <cx:pt idx="1335">0.32501152912676329</cx:pt>
          <cx:pt idx="1336">0.32538033951377299</cx:pt>
          <cx:pt idx="1337">0.32153925589885868</cx:pt>
          <cx:pt idx="1338">0.33841465317661412</cx:pt>
          <cx:pt idx="1339">0.34069741142574894</cx:pt>
          <cx:pt idx="1340">0.34967279650968808</cx:pt>
          <cx:pt idx="1341">0.35256870994015832</cx:pt>
          <cx:pt idx="1342">0.35203285446415905</cx:pt>
          <cx:pt idx="1343">0.35356979934352339</cx:pt>
          <cx:pt idx="1344">0.34757650620129488</cx:pt>
          <cx:pt idx="1345">0.36023782270543336</cx:pt>
          <cx:pt idx="1346">0.38356175020919397</cx:pt>
          <cx:pt idx="1347">0.38008753274907875</cx:pt>
          <cx:pt idx="1348">0.38772450428382843</cx:pt>
          <cx:pt idx="1349">0.39648544631006188</cx:pt>
          <cx:pt idx="1350">0.39809590325968269</cx:pt>
          <cx:pt idx="1351">0.39467147583571122</cx:pt>
          <cx:pt idx="1352">0.40315194550040934</cx:pt>
          <cx:pt idx="1353">0.38720288965835253</cx:pt>
          <cx:pt idx="1354">0.37601632715973982</cx:pt>
          <cx:pt idx="1355">0.35787259324275461</cx:pt>
          <cx:pt idx="1356">0.35740303813376745</cx:pt>
          <cx:pt idx="1357">0.35173303425504771</cx:pt>
          <cx:pt idx="1358">0.35522858715124722</cx:pt>
          <cx:pt idx="1359">0.35476963217229401</cx:pt>
          <cx:pt idx="1360">0.36502770736511247</cx:pt>
          <cx:pt idx="1361">0.36416645006424742</cx:pt>
          <cx:pt idx="1362">0.36153451436021095</cx:pt>
          <cx:pt idx="1363">0.35939471617085506</cx:pt>
          <cx:pt idx="1364">0.35092150155649249</cx:pt>
          <cx:pt idx="1365">0.3467611240407103</cx:pt>
          <cx:pt idx="1366">0.3461746653320375</cx:pt>
          <cx:pt idx="1367">0.34552517711220698</cx:pt>
          <cx:pt idx="1368">0.35279106206779626</cx:pt>
          <cx:pt idx="1369">0.33932546483084081</cx:pt>
          <cx:pt idx="1370">0.33746819902121666</cx:pt>
          <cx:pt idx="1371">0.32233853254695705</cx:pt>
          <cx:pt idx="1372">0.32230932519368743</cx:pt>
          <cx:pt idx="1373">0.31793149662569881</cx:pt>
          <cx:pt idx="1374">0.31749113363474712</cx:pt>
          <cx:pt idx="1375">0.31064213312104805</cx:pt>
          <cx:pt idx="1376">0.29258500170484347</cx:pt>
          <cx:pt idx="1377">0.2519050736942422</cx:pt>
          <cx:pt idx="1378">0.25785724300136481</cx:pt>
          <cx:pt idx="1379">0.25090337297468279</cx:pt>
          <cx:pt idx="1380">0.24231711701832617</cx:pt>
          <cx:pt idx="1381">0.23988204754364678</cx:pt>
          <cx:pt idx="1382">0.23959579828281019</cx:pt>
          <cx:pt idx="1383">0.23063246079930133</cx:pt>
          <cx:pt idx="1384">0.23570629742572055</cx:pt>
          <cx:pt idx="1385">0.24565549255549016</cx:pt>
          <cx:pt idx="1386">0.24846791411597344</cx:pt>
          <cx:pt idx="1387">0.25008911390412414</cx:pt>
          <cx:pt idx="1388">0.27043861039350109</cx:pt>
          <cx:pt idx="1389">0.27194769097040644</cx:pt>
          <cx:pt idx="1390">0.2688439350705541</cx:pt>
          <cx:pt idx="1391">0.25788160673747462</cx:pt>
          <cx:pt idx="1392">0.27176332936909031</cx:pt>
          <cx:pt idx="1393">0.27385448732789269</cx:pt>
          <cx:pt idx="1394">0.29306312216774089</cx:pt>
          <cx:pt idx="1395">0.30893033332200553</cx:pt>
          <cx:pt idx="1396">0.30921384849935346</cx:pt>
          <cx:pt idx="1397">0.30913039259868924</cx:pt>
          <cx:pt idx="1398">0.31805224436586266</cx:pt>
          <cx:pt idx="1399">0.31217302072833103</cx:pt>
          <cx:pt idx="1400">0.33423881667243782</cx:pt>
          <cx:pt idx="1401">0.3370435196034946</cx:pt>
          <cx:pt idx="1402">0.33713176221507279</cx:pt>
          <cx:pt idx="1403">0.34065200012302088</cx:pt>
          <cx:pt idx="1404">0.34529410274612804</cx:pt>
          <cx:pt idx="1405">0.34289247516624899</cx:pt>
          <cx:pt idx="1406">0.35303836742040867</cx:pt>
          <cx:pt idx="1407">0.35274770263476141</cx:pt>
          <cx:pt idx="1408">0.35721191063486257</cx:pt>
          <cx:pt idx="1409">0.35371042289378113</cx:pt>
          <cx:pt idx="1410">0.35816881415013574</cx:pt>
          <cx:pt idx="1411">0.35487251003614784</cx:pt>
          <cx:pt idx="1412">0.35985057002015036</cx:pt>
          <cx:pt idx="1413">0.36010996649195853</cx:pt>
          <cx:pt idx="1414">0.35929380791472382</cx:pt>
          <cx:pt idx="1415">0.36985417979349339</cx:pt>
          <cx:pt idx="1416">0.3689981975139342</cx:pt>
          <cx:pt idx="1417">0.36611345058702138</cx:pt>
          <cx:pt idx="1418">0.36235182870141108</cx:pt>
          <cx:pt idx="1419">0.37012622370706216</cx:pt>
          <cx:pt idx="1420">0.35575028788403523</cx:pt>
          <cx:pt idx="1421">0.35670106387315803</cx:pt>
          <cx:pt idx="1422">0.35779595599417141</cx:pt>
          <cx:pt idx="1423">0.36521345600227295</cx:pt>
          <cx:pt idx="1424">0.36421015094191667</cx:pt>
          <cx:pt idx="1425">0.35136664613218127</cx:pt>
          <cx:pt idx="1426">0.33115660060483409</cx:pt>
          <cx:pt idx="1427">0.33375012652732572</cx:pt>
          <cx:pt idx="1428">0.33363371413120568</cx:pt>
          <cx:pt idx="1429">0.32810385266381492</cx:pt>
          <cx:pt idx="1430">0.32753987041956079</cx:pt>
          <cx:pt idx="1431">0.30564778037489082</cx:pt>
          <cx:pt idx="1432">0.30326049107365927</cx:pt>
          <cx:pt idx="1433">0.30098489360570629</cx:pt>
          <cx:pt idx="1434">0.31191774006905038</cx:pt>
          <cx:pt idx="1435">0.3099035931272453</cx:pt>
          <cx:pt idx="1436">0.31283373113209761</cx:pt>
          <cx:pt idx="1437">0.29919214778037423</cx:pt>
          <cx:pt idx="1438">0.30088486588169017</cx:pt>
          <cx:pt idx="1439">0.29554005154126034</cx:pt>
          <cx:pt idx="1440">0.2950551173556446</cx:pt>
          <cx:pt idx="1441">0.29094618837484998</cx:pt>
          <cx:pt idx="1442">0.30370098681082347</cx:pt>
          <cx:pt idx="1443">0.30993878851744</cx:pt>
          <cx:pt idx="1444">0.30913708292854492</cx:pt>
          <cx:pt idx="1445">0.31464459801367983</cx:pt>
          <cx:pt idx="1446">0.30202615458685539</cx:pt>
          <cx:pt idx="1447">0.29614872570465722</cx:pt>
          <cx:pt idx="1448">0.29593873239874735</cx:pt>
          <cx:pt idx="1449">0.2998334879514622</cx:pt>
          <cx:pt idx="1450">0.28013902670092083</cx:pt>
          <cx:pt idx="1451">0.27352861146939861</cx:pt>
          <cx:pt idx="1452">0.27197189754946344</cx:pt>
          <cx:pt idx="1453">0.26484344943097271</cx:pt>
          <cx:pt idx="1454">0.24984055780264741</cx:pt>
          <cx:pt idx="1455">0.2583865615972944</cx:pt>
          <cx:pt idx="1456">0.29038196370308089</cx:pt>
          <cx:pt idx="1457">0.29225819887162979</cx:pt>
          <cx:pt idx="1458">0.2895833234112124</cx:pt>
          <cx:pt idx="1459">0.2992480901538403</cx:pt>
          <cx:pt idx="1460">0.30074354352335136</cx:pt>
          <cx:pt idx="1461">0.30059776279483047</cx:pt>
          <cx:pt idx="1462">0.29286443175722182</cx:pt>
          <cx:pt idx="1463">0.29373652610395679</cx:pt>
          <cx:pt idx="1464">0.31052138339439167</cx:pt>
          <cx:pt idx="1465">0.29778960378267016</cx:pt>
          <cx:pt idx="1466">0.28993795083458446</cx:pt>
          <cx:pt idx="1467">0.28613232275137901</cx:pt>
          <cx:pt idx="1468">0.28663696932839633</cx:pt>
          <cx:pt idx="1469">0.29160573496587794</cx:pt>
          <cx:pt idx="1470">0.29007101826659554</cx:pt>
          <cx:pt idx="1471">0.29006708131815961</cx:pt>
          <cx:pt idx="1472">0.29272684850075004</cx:pt>
          <cx:pt idx="1473">0.27636058964424282</cx:pt>
          <cx:pt idx="1474">0.26909889852619401</cx:pt>
          <cx:pt idx="1475">0.27571153134737503</cx:pt>
          <cx:pt idx="1476">0.27970197700244409</cx:pt>
          <cx:pt idx="1477">0.2700128863295912</cx:pt>
          <cx:pt idx="1478">0.27095875335300451</cx:pt>
          <cx:pt idx="1479">0.27183595073404998</cx:pt>
          <cx:pt idx="1480">0.26719173367040328</cx:pt>
          <cx:pt idx="1481">0.26348566007934526</cx:pt>
          <cx:pt idx="1482">0.26529101304407599</cx:pt>
          <cx:pt idx="1483">0.26675711150377907</cx:pt>
          <cx:pt idx="1484">0.29982045813451952</cx:pt>
          <cx:pt idx="1485">0.29661040480000667</cx:pt>
          <cx:pt idx="1486">0.29451048731655072</cx:pt>
          <cx:pt idx="1487">0.26612635794920164</cx:pt>
          <cx:pt idx="1488">0.26770027834243254</cx:pt>
          <cx:pt idx="1489">0.27624857851072138</cx:pt>
          <cx:pt idx="1490">0.26577010530686535</cx:pt>
          <cx:pt idx="1491">0.27568148969994238</cx:pt>
          <cx:pt idx="1492">0.27629260287792329</cx:pt>
          <cx:pt idx="1493">0.27333347952229659</cx:pt>
          <cx:pt idx="1494">0.27418597129918243</cx:pt>
          <cx:pt idx="1495">0.25886648159236764</cx:pt>
          <cx:pt idx="1496">0.26596091908905956</cx:pt>
          <cx:pt idx="1497">0.26847497816957533</cx:pt>
          <cx:pt idx="1498">0.2718296572410942</cx:pt>
          <cx:pt idx="1499">0.27161739561431325</cx:pt>
          <cx:pt idx="1500">0.26655463628380094</cx:pt>
          <cx:pt idx="1501">0.26671795637835577</cx:pt>
          <cx:pt idx="1502">0.28572563731685657</cx:pt>
          <cx:pt idx="1503">0.28150073149179339</cx:pt>
          <cx:pt idx="1504">0.28319938668175548</cx:pt>
          <cx:pt idx="1505">0.28458805215144256</cx:pt>
          <cx:pt idx="1506">0.28630365614214059</cx:pt>
          <cx:pt idx="1507">0.27942005248073853</cx:pt>
          <cx:pt idx="1508">0.27933357614181514</cx:pt>
          <cx:pt idx="1509">0.28262303623502572</cx:pt>
          <cx:pt idx="1510">0.28361675790794333</cx:pt>
          <cx:pt idx="1511">0.28689842684233918</cx:pt>
          <cx:pt idx="1512">0.28046837895709659</cx:pt>
          <cx:pt idx="1513">0.2799110527589932</cx:pt>
          <cx:pt idx="1514">0.27629941310053019</cx:pt>
          <cx:pt idx="1515">0.25546885997530577</cx:pt>
          <cx:pt idx="1516">0.25633021985497245</cx:pt>
          <cx:pt idx="1517">0.25675218478862782</cx:pt>
          <cx:pt idx="1518">0.25848891414578928</cx:pt>
          <cx:pt idx="1519">0.25093558673823807</cx:pt>
          <cx:pt idx="1520">0.24304311713064583</cx:pt>
          <cx:pt idx="1521">0.26111557693548454</cx:pt>
          <cx:pt idx="1522">0.2430733197442882</cx:pt>
          <cx:pt idx="1523">0.25223774576105273</cx:pt>
          <cx:pt idx="1524">0.25225570335755904</cx:pt>
          <cx:pt idx="1525">0.2500579671534468</cx:pt>
          <cx:pt idx="1526">0.25224836129681805</cx:pt>
          <cx:pt idx="1527">0.25807182239302917</cx:pt>
          <cx:pt idx="1528">0.2566788244132997</cx:pt>
          <cx:pt idx="1529">0.25494724571893945</cx:pt>
          <cx:pt idx="1530">0.26582876296161528</cx:pt>
          <cx:pt idx="1531">0.27670724736203911</cx:pt>
          <cx:pt idx="1532">0.27633982923256695</cx:pt>
          <cx:pt idx="1533">0.2550403177284255</cx:pt>
          <cx:pt idx="1534">0.2560145905521618</cx:pt>
          <cx:pt idx="1535">0.2554015279928365</cx:pt>
          <cx:pt idx="1536">0.25719189867307513</cx:pt>
          <cx:pt idx="1537">0.2430354990049782</cx:pt>
          <cx:pt idx="1538">0.23340485275821801</cx:pt>
          <cx:pt idx="1539">0.23466710342533009</cx:pt>
          <cx:pt idx="1540">0.23440214925524705</cx:pt>
          <cx:pt idx="1541">0.24984195706470896</cx:pt>
          <cx:pt idx="1542">0.25169787787133496</cx:pt>
          <cx:pt idx="1543">0.25173633099360304</cx:pt>
          <cx:pt idx="1544">0.26624415739892121</cx:pt>
          <cx:pt idx="1545">0.26619099588600981</cx:pt>
          <cx:pt idx="1546">0.26484814401523243</cx:pt>
          <cx:pt idx="1547">0.26467933218877637</cx:pt>
          <cx:pt idx="1548">0.26498037479585212</cx:pt>
          <cx:pt idx="1549">0.27240763051630112</cx:pt>
          <cx:pt idx="1550">0.27357267570245181</cx:pt>
          <cx:pt idx="1551">0.29144331180136029</cx:pt>
          <cx:pt idx="1552">0.27732877530290845</cx:pt>
          <cx:pt idx="1553">0.29183251070334743</cx:pt>
          <cx:pt idx="1554">0.28210178988311885</cx:pt>
          <cx:pt idx="1555">0.29197314014365261</cx:pt>
          <cx:pt idx="1556">0.29087043620439024</cx:pt>
          <cx:pt idx="1557">0.2895059187550047</cx:pt>
          <cx:pt idx="1558">0.28587602350052793</cx:pt>
          <cx:pt idx="1559">0.28514873681182251</cx:pt>
          <cx:pt idx="1560">0.28563753065255992</cx:pt>
          <cx:pt idx="1561">0.27883804355454211</cx:pt>
          <cx:pt idx="1562">0.26738815446304887</cx:pt>
          <cx:pt idx="1563">0.28638293605882426</cx:pt>
          <cx:pt idx="1564">0.28302473421494678</cx:pt>
          <cx:pt idx="1565">0.29540642983500937</cx:pt>
          <cx:pt idx="1566">0.29866412145763888</cx:pt>
          <cx:pt idx="1567">0.29136978523756218</cx:pt>
          <cx:pt idx="1568">0.29011751859571328</cx:pt>
          <cx:pt idx="1569">0.30327272808625411</cx:pt>
          <cx:pt idx="1570">0.30252528061757078</cx:pt>
          <cx:pt idx="1571">0.29793221598008135</cx:pt>
          <cx:pt idx="1572">0.288898601288131</cx:pt>
          <cx:pt idx="1573">0.29765776147120815</cx:pt>
          <cx:pt idx="1574">0.30352276898009917</cx:pt>
          <cx:pt idx="1575">0.29605502998323596</cx:pt>
          <cx:pt idx="1576">0.29688659106582788</cx:pt>
          <cx:pt idx="1577">0.29935525288764003</cx:pt>
          <cx:pt idx="1578">0.30132158546685728</cx:pt>
          <cx:pt idx="1579">0.29861037029784943</cx:pt>
          <cx:pt idx="1580">0.29042535514333101</cx:pt>
          <cx:pt idx="1581">0.31327832591812982</cx:pt>
          <cx:pt idx="1582">0.30347032053720258</cx:pt>
          <cx:pt idx="1583">0.30517154235683136</cx:pt>
          <cx:pt idx="1584">0.31069353851203979</cx:pt>
          <cx:pt idx="1585">0.31379675149873509</cx:pt>
          <cx:pt idx="1586">0.31732764696545629</cx:pt>
          <cx:pt idx="1587">0.31753403040606371</cx:pt>
          <cx:pt idx="1588">0.31942995548233799</cx:pt>
          <cx:pt idx="1589">0.31918930512523974</cx:pt>
          <cx:pt idx="1590">0.32710066626929374</cx:pt>
          <cx:pt idx="1591">0.33055192607493561</cx:pt>
          <cx:pt idx="1592">0.3367799302301604</cx:pt>
          <cx:pt idx="1593">0.33808458606563802</cx:pt>
          <cx:pt idx="1594">0.31275064276558751</cx:pt>
          <cx:pt idx="1595">0.31240376653223861</cx:pt>
          <cx:pt idx="1596">0.30661161722501329</cx:pt>
          <cx:pt idx="1597">0.29630370472154882</cx:pt>
          <cx:pt idx="1598">0.29752229247297857</cx:pt>
          <cx:pt idx="1599">0.30014611244068329</cx:pt>
          <cx:pt idx="1600">0.30405775679665265</cx:pt>
          <cx:pt idx="1601">0.30395743960093696</cx:pt>
          <cx:pt idx="1602">0.31703766168062741</cx:pt>
          <cx:pt idx="1603">0.3065525904111755</cx:pt>
          <cx:pt idx="1604">0.30280783277586376</cx:pt>
          <cx:pt idx="1605">0.30178423791816739</cx:pt>
          <cx:pt idx="1606">0.30104244145066172</cx:pt>
          <cx:pt idx="1607">0.30865436275420544</cx:pt>
          <cx:pt idx="1608">0.31179817960702244</cx:pt>
          <cx:pt idx="1609">0.31143173942679353</cx:pt>
          <cx:pt idx="1610">0.31262002419546397</cx:pt>
          <cx:pt idx="1611">0.3118478912622884</cx:pt>
          <cx:pt idx="1612">0.294966061293298</cx:pt>
          <cx:pt idx="1613">0.29070594600964766</cx:pt>
          <cx:pt idx="1614">0.28722100601396311</cx:pt>
          <cx:pt idx="1615">0.26979229173308844</cx:pt>
          <cx:pt idx="1616">0.27819784235330125</cx:pt>
          <cx:pt idx="1617">0.26015131863453383</cx:pt>
          <cx:pt idx="1618">0.25938873388847355</cx:pt>
          <cx:pt idx="1619">0.26199561793645237</cx:pt>
          <cx:pt idx="1620">0.26200994021407037</cx:pt>
          <cx:pt idx="1621">0.24810532121626158</cx:pt>
          <cx:pt idx="1622">0.23945412625345189</cx:pt>
          <cx:pt idx="1623">0.23811269620469833</cx:pt>
          <cx:pt idx="1624">0.24449947916334067</cx:pt>
          <cx:pt idx="1625">0.25815744858692546</cx:pt>
          <cx:pt idx="1626">0.2658193309162159</cx:pt>
          <cx:pt idx="1627">0.26722149152485181</cx:pt>
          <cx:pt idx="1628">0.27385350655657936</cx:pt>
          <cx:pt idx="1629">0.26830014426454535</cx:pt>
          <cx:pt idx="1630">0.25510494667251432</cx:pt>
          <cx:pt idx="1631">0.2760547420778508</cx:pt>
          <cx:pt idx="1632">0.27656312612317208</cx:pt>
          <cx:pt idx="1633">0.27300269506804542</cx:pt>
          <cx:pt idx="1634">0.27550765896226315</cx:pt>
          <cx:pt idx="1635">0.27565208795068735</cx:pt>
          <cx:pt idx="1636">0.28408178370768766</cx:pt>
          <cx:pt idx="1637">0.28072958752600474</cx:pt>
          <cx:pt idx="1638">0.28300054931770752</cx:pt>
          <cx:pt idx="1639">0.28255971949349895</cx:pt>
          <cx:pt idx="1640">0.28255381910182181</cx:pt>
          <cx:pt idx="1641">0.27902986546132619</cx:pt>
          <cx:pt idx="1642">0.2847187868406959</cx:pt>
          <cx:pt idx="1643">0.28507266782123203</cx:pt>
          <cx:pt idx="1644">0.28391969072496109</cx:pt>
          <cx:pt idx="1645">0.29111785724017181</cx:pt>
          <cx:pt idx="1646">0.29204487673607499</cx:pt>
          <cx:pt idx="1647">0.28182643588954642</cx:pt>
          <cx:pt idx="1648">0.28559334817131632</cx:pt>
          <cx:pt idx="1649">0.29152068009147181</cx:pt>
          <cx:pt idx="1650">0.28707929129085619</cx:pt>
          <cx:pt idx="1651">0.28228099754369712</cx:pt>
          <cx:pt idx="1652">0.28577993822981179</cx:pt>
          <cx:pt idx="1653">0.28795985456361611</cx:pt>
          <cx:pt idx="1654">0.28255273263158825</cx:pt>
          <cx:pt idx="1655">0.27967471528483606</cx:pt>
          <cx:pt idx="1656">0.26487645915277891</cx:pt>
          <cx:pt idx="1657">0.25844630287125875</cx:pt>
          <cx:pt idx="1658">0.26072058482114635</cx:pt>
          <cx:pt idx="1659">0.25761030795974488</cx:pt>
          <cx:pt idx="1660">0.26546777484228018</cx:pt>
          <cx:pt idx="1661">0.28466358592856633</cx:pt>
          <cx:pt idx="1662">0.26932453953737195</cx:pt>
          <cx:pt idx="1663">0.27163938732076714</cx:pt>
          <cx:pt idx="1664">0.29147852363667692</cx:pt>
          <cx:pt idx="1665">0.29243536120636199</cx:pt>
          <cx:pt idx="1666">0.29225624133421912</cx:pt>
          <cx:pt idx="1667">0.29201609637498788</cx:pt>
          <cx:pt idx="1668">0.30308702854908109</cx:pt>
          <cx:pt idx="1669">0.29757618331844438</cx:pt>
          <cx:pt idx="1670">0.36463362929916937</cx:pt>
          <cx:pt idx="1671">0.41245711702108095</cx:pt>
          <cx:pt idx="1672">0.44479445892566005</cx:pt>
          <cx:pt idx="1673">0.46148113493366238</cx:pt>
          <cx:pt idx="1674">0.48701432519086096</cx:pt>
          <cx:pt idx="1675">0.49992317032538819</cx:pt>
          <cx:pt idx="1676">0.52064570307664193</cx:pt>
          <cx:pt idx="1677">0.5391445469278926</cx:pt>
          <cx:pt idx="1678">0.55092095743929037</cx:pt>
          <cx:pt idx="1679">0.54789515492368812</cx:pt>
          <cx:pt idx="1680">0.54027083250112307</cx:pt>
          <cx:pt idx="1681">0.54415420848148355</cx:pt>
          <cx:pt idx="1682">0.54958685411459696</cx:pt>
          <cx:pt idx="1683">0.55696988555049687</cx:pt>
          <cx:pt idx="1684">0.55314241709789413</cx:pt>
          <cx:pt idx="1685">0.54841129195056282</cx:pt>
          <cx:pt idx="1686">0.54804814679592218</cx:pt>
          <cx:pt idx="1687">0.54650003103616174</cx:pt>
          <cx:pt idx="1688">0.53989913839787051</cx:pt>
          <cx:pt idx="1689">0.53422962646804761</cx:pt>
          <cx:pt idx="1690">0.52259156812159469</cx:pt>
          <cx:pt idx="1691">0.48527495300240769</cx:pt>
          <cx:pt idx="1692">0.48479694550226249</cx:pt>
          <cx:pt idx="1693">0.46522615728729511</cx:pt>
          <cx:pt idx="1694">0.45866461989873203</cx:pt>
          <cx:pt idx="1695">0.45822729187231875</cx:pt>
          <cx:pt idx="1696">0.41586594579842856</cx:pt>
          <cx:pt idx="1697">0.35197533429236882</cx:pt>
          <cx:pt idx="1698">0.33570268917700014</cx:pt>
          <cx:pt idx="1699">0.21788764431206969</cx:pt>
          <cx:pt idx="1700">0.17708681665432791</cx:pt>
          <cx:pt idx="1701">0.18434079134618084</cx:pt>
          <cx:pt idx="1702">0.18234607215948848</cx:pt>
          <cx:pt idx="1703">0.18223651443567204</cx:pt>
          <cx:pt idx="1704">0.18192511976416884</cx:pt>
          <cx:pt idx="1705">0.18294299728814289</cx:pt>
          <cx:pt idx="1706">0.18421022745074808</cx:pt>
          <cx:pt idx="1707">0.18080818675380955</cx:pt>
          <cx:pt idx="1708">0.18248118536511435</cx:pt>
          <cx:pt idx="1709">0.18816706432866676</cx:pt>
          <cx:pt idx="1710">0.18556216041637183</cx:pt>
          <cx:pt idx="1711">0.18431179289520169</cx:pt>
          <cx:pt idx="1712">0.18196562597889057</cx:pt>
          <cx:pt idx="1713">0.18698398292168075</cx:pt>
          <cx:pt idx="1714">0.26840648310171544</cx:pt>
          <cx:pt idx="1715">0.37539040411482966</cx:pt>
          <cx:pt idx="1716">0.41185622357219726</cx:pt>
          <cx:pt idx="1717">0.46137959615182178</cx:pt>
          <cx:pt idx="1718">0.48594324031998587</cx:pt>
          <cx:pt idx="1719">0.50269812305949246</cx:pt>
          <cx:pt idx="1720">0.49407516530640372</cx:pt>
          <cx:pt idx="1721">0.49972315266767608</cx:pt>
          <cx:pt idx="1722">0.50238176479770091</cx:pt>
          <cx:pt idx="1723">0.53039199481516719</cx:pt>
          <cx:pt idx="1724">0.53409504042676859</cx:pt>
          <cx:pt idx="1725">0.54757030617927871</cx:pt>
          <cx:pt idx="1726">0.55262214827173273</cx:pt>
          <cx:pt idx="1727">0.56567822727491368</cx:pt>
          <cx:pt idx="1728">0.56374466409187285</cx:pt>
          <cx:pt idx="1729">0.56526300462378587</cx:pt>
          <cx:pt idx="1730">0.55418559292202507</cx:pt>
          <cx:pt idx="1731">0.54586181573547055</cx:pt>
          <cx:pt idx="1732">0.55677025870474761</cx:pt>
          <cx:pt idx="1733">0.54628751892683425</cx:pt>
          <cx:pt idx="1734">0.5386388839259596</cx:pt>
          <cx:pt idx="1735">0.5337996176195845</cx:pt>
          <cx:pt idx="1736">0.51984914182925779</cx:pt>
          <cx:pt idx="1737">0.50076350363170719</cx:pt>
          <cx:pt idx="1738">0.47507374710229738</cx:pt>
          <cx:pt idx="1739">0.44343727314729425</cx:pt>
          <cx:pt idx="1740">0.43346483647505718</cx:pt>
          <cx:pt idx="1741">0.40871932389607962</cx:pt>
          <cx:pt idx="1742">0.38501915114112067</cx:pt>
          <cx:pt idx="1743">0.35943156601763548</cx:pt>
          <cx:pt idx="1744">0.27828128780900163</cx:pt>
          <cx:pt idx="1745">0.28124070791599171</cx:pt>
          <cx:pt idx="1746">0.26896598761835555</cx:pt>
          <cx:pt idx="1747">0.28117235501396393</cx:pt>
          <cx:pt idx="1748">0.27489027523688048</cx:pt>
          <cx:pt idx="1749">0.29640490573226708</cx:pt>
          <cx:pt idx="1750">0.29645567750646629</cx:pt>
          <cx:pt idx="1751">0.27707661590292626</cx:pt>
          <cx:pt idx="1752">0.27699999261680042</cx:pt>
          <cx:pt idx="1753">0.2761456079448687</cx:pt>
          <cx:pt idx="1754">0.27765679605259347</cx:pt>
          <cx:pt idx="1755">0.2982573988748719</cx:pt>
          <cx:pt idx="1756">0.29608451907891598</cx:pt>
          <cx:pt idx="1757">0.31759732937816582</cx:pt>
          <cx:pt idx="1758">0.31402134177158131</cx:pt>
          <cx:pt idx="1759">0.31212012833468517</cx:pt>
          <cx:pt idx="1760">0.32858326831013279</cx:pt>
          <cx:pt idx="1761">0.35177723041142511</cx:pt>
          <cx:pt idx="1762">0.35920509097651049</cx:pt>
          <cx:pt idx="1763">0.36368967624773701</cx:pt>
          <cx:pt idx="1764">0.37061882020669251</cx:pt>
          <cx:pt idx="1765">0.37145562695448625</cx:pt>
          <cx:pt idx="1766">0.37101096138742795</cx:pt>
          <cx:pt idx="1767">0.36710995007084773</cx:pt>
          <cx:pt idx="1768">0.36574258682411037</cx:pt>
          <cx:pt idx="1769">0.35891628486846061</cx:pt>
          <cx:pt idx="1770">0.35833600031021029</cx:pt>
          <cx:pt idx="1771">0.35903762451306853</cx:pt>
          <cx:pt idx="1772">0.35869466847178838</cx:pt>
          <cx:pt idx="1773">0.36278321223818788</cx:pt>
          <cx:pt idx="1774">0.35076432237946087</cx:pt>
          <cx:pt idx="1775">0.35520400637416488</cx:pt>
          <cx:pt idx="1776">0.35459993379069094</cx:pt>
          <cx:pt idx="1777">0.34972165933829291</cx:pt>
          <cx:pt idx="1778">0.34278959088865801</cx:pt>
          <cx:pt idx="1779">0.34310989378317791</cx:pt>
          <cx:pt idx="1780">0.32490362039117499</cx:pt>
          <cx:pt idx="1781">0.324946178761639</cx:pt>
          <cx:pt idx="1782">0.3273445649198603</cx:pt>
          <cx:pt idx="1783">0.33384435251138578</cx:pt>
          <cx:pt idx="1784">0.33312136794236208</cx:pt>
          <cx:pt idx="1785">0.34176442964335091</cx:pt>
          <cx:pt idx="1786">0.33146890563512038</cx:pt>
          <cx:pt idx="1787">0.33571915329842467</cx:pt>
          <cx:pt idx="1788">0.31708795501044335</cx:pt>
          <cx:pt idx="1789">0.31672855654011733</cx:pt>
          <cx:pt idx="1790">0.32270201886694116</cx:pt>
          <cx:pt idx="1791">0.31548131424410059</cx:pt>
          <cx:pt idx="1792">0.31044188942311896</cx:pt>
          <cx:pt idx="1793">0.30672240221071806</cx:pt>
          <cx:pt idx="1794">0.29514737097100086</cx:pt>
          <cx:pt idx="1795">0.28805180981476519</cx:pt>
          <cx:pt idx="1796">0.2908563549694308</cx:pt>
          <cx:pt idx="1797">0.29390658425558003</cx:pt>
          <cx:pt idx="1798">0.26967721912100751</cx:pt>
          <cx:pt idx="1799">0.27337727618542473</cx:pt>
          <cx:pt idx="1800">0.27273568978386559</cx:pt>
          <cx:pt idx="1801">0.27295146015179467</cx:pt>
          <cx:pt idx="1802">0.27553609525741851</cx:pt>
          <cx:pt idx="1803">0.27471653273274671</cx:pt>
          <cx:pt idx="1804">0.27235735383795201</cx:pt>
          <cx:pt idx="1805">0.2727532279652814</cx:pt>
          <cx:pt idx="1806">0.27425622760460067</cx:pt>
          <cx:pt idx="1807">0.27751415980229954</cx:pt>
          <cx:pt idx="1808">0.27670877012184336</cx:pt>
          <cx:pt idx="1809">0.27543099747272498</cx:pt>
          <cx:pt idx="1810">0.27461803978593174</cx:pt>
          <cx:pt idx="1811">0.28711878793431439</cx:pt>
          <cx:pt idx="1812">0.2872289691418759</cx:pt>
          <cx:pt idx="1813">0.2907234594069199</cx:pt>
          <cx:pt idx="1814">0.28420939470194345</cx:pt>
          <cx:pt idx="1815">0.29865694617161692</cx:pt>
          <cx:pt idx="1816">0.28961987020603752</cx:pt>
          <cx:pt idx="1817">0.27848406138996484</cx:pt>
          <cx:pt idx="1818">0.28696030387960297</cx:pt>
          <cx:pt idx="1819">0.28638558398003461</cx:pt>
          <cx:pt idx="1820">0.29659588397622677</cx:pt>
          <cx:pt idx="1821">0.30826913788537358</cx:pt>
          <cx:pt idx="1822">0.310150869799109</cx:pt>
          <cx:pt idx="1823">0.30849798840086845</cx:pt>
          <cx:pt idx="1824">0.31859158553766448</cx:pt>
          <cx:pt idx="1825">0.32080403345972458</cx:pt>
          <cx:pt idx="1826">0.32077443288407209</cx:pt>
          <cx:pt idx="1827">0.32339931623951162</cx:pt>
          <cx:pt idx="1828">0.33624832808588057</cx:pt>
          <cx:pt idx="1829">0.35409636987479193</cx:pt>
          <cx:pt idx="1830">0.34939644965182026</cx:pt>
          <cx:pt idx="1831">0.35054274153381404</cx:pt>
          <cx:pt idx="1832">0.37570871337839717</cx:pt>
          <cx:pt idx="1833">0.37896052196355751</cx:pt>
          <cx:pt idx="1834">0.37822656287282302</cx:pt>
          <cx:pt idx="1835">0.38187070158693387</cx:pt>
          <cx:pt idx="1836">0.38264615545624375</cx:pt>
          <cx:pt idx="1837">0.38998258864492397</cx:pt>
          <cx:pt idx="1838">0.38795430037417999</cx:pt>
          <cx:pt idx="1839">0.38944088663758858</cx:pt>
          <cx:pt idx="1840">0.39876743335251791</cx:pt>
          <cx:pt idx="1841">0.3983449344172702</cx:pt>
          <cx:pt idx="1842">0.38687690117715567</cx:pt>
          <cx:pt idx="1843">0.40301150512933009</cx:pt>
          <cx:pt idx="1844">0.41339474847758195</cx:pt>
          <cx:pt idx="1845">0.41328639318547383</cx:pt>
          <cx:pt idx="1846">0.41213297258346765</cx:pt>
          <cx:pt idx="1847">0.40650626285250474</cx:pt>
          <cx:pt idx="1848">0.40652363365351302</cx:pt>
          <cx:pt idx="1849">0.39994410163448435</cx:pt>
          <cx:pt idx="1850">0.40389655357109933</cx:pt>
          <cx:pt idx="1851">0.39614539742909943</cx:pt>
          <cx:pt idx="1852">0.39424393521906281</cx:pt>
          <cx:pt idx="1853">0.37720072961262729</cx:pt>
          <cx:pt idx="1854">0.388202411077605</cx:pt>
          <cx:pt idx="1855">0.38512786501880836</cx:pt>
          <cx:pt idx="1856">0.39598696906925629</cx:pt>
          <cx:pt idx="1857">0.40228702740067329</cx:pt>
          <cx:pt idx="1858">0.43204382152522935</cx:pt>
          <cx:pt idx="1859">0.43355558615383089</cx:pt>
          <cx:pt idx="1860">0.44650224809517514</cx:pt>
          <cx:pt idx="1861">0.47976658621924578</cx:pt>
          <cx:pt idx="1862">0.49108768940041236</cx:pt>
          <cx:pt idx="1863">0.49111817019722315</cx:pt>
          <cx:pt idx="1864">0.48898262068257486</cx:pt>
          <cx:pt idx="1865">0.50279609844831141</cx:pt>
          <cx:pt idx="1866">0.48939414002055753</cx:pt>
          <cx:pt idx="1867">0.48927124551208784</cx:pt>
          <cx:pt idx="1868">0.49458430292863759</cx:pt>
          <cx:pt idx="1869">0.50167489427950496</cx:pt>
          <cx:pt idx="1870">0.50680042811934334</cx:pt>
          <cx:pt idx="1871">0.51491549927977143</cx:pt>
          <cx:pt idx="1872">0.52541228237235948</cx:pt>
          <cx:pt idx="1873">0.528795904541696</cx:pt>
          <cx:pt idx="1874">0.50572752878193949</cx:pt>
          <cx:pt idx="1875">0.46853497065927308</cx:pt>
          <cx:pt idx="1876">0.45994950033694498</cx:pt>
          <cx:pt idx="1877">0.41698932898492685</cx:pt>
          <cx:pt idx="1878">0.40952308992442277</cx:pt>
          <cx:pt idx="1879">0.38785197790372744</cx:pt>
          <cx:pt idx="1880">0.37531429046711612</cx:pt>
          <cx:pt idx="1881">0.36673002697224771</cx:pt>
          <cx:pt idx="1882">0.33745366681140682</cx:pt>
          <cx:pt idx="1883">0.33430911694951393</cx:pt>
          <cx:pt idx="1884">0.30761223013279926</cx:pt>
          <cx:pt idx="1885">0.31345378573474897</cx:pt>
          <cx:pt idx="1886">0.19969341852786662</cx:pt>
          <cx:pt idx="1887">0.18969498407530128</cx:pt>
          <cx:pt idx="1888">0.16937201193181836</cx:pt>
          <cx:pt idx="1889">0.183130152954813</cx:pt>
          <cx:pt idx="1890">0.18213605959303106</cx:pt>
          <cx:pt idx="1891">0.18275180385450157</cx:pt>
          <cx:pt idx="1892">0.19029301668854817</cx:pt>
          <cx:pt idx="1893">0.19107793211946478</cx:pt>
          <cx:pt idx="1894">0.19096738077727718</cx:pt>
          <cx:pt idx="1895">0.18906192551914008</cx:pt>
          <cx:pt idx="1896">0.1929570376512009</cx:pt>
          <cx:pt idx="1897">0.18975388334811533</cx:pt>
          <cx:pt idx="1898">0.19086374017320698</cx:pt>
          <cx:pt idx="1899">0.19305914521942141</cx:pt>
          <cx:pt idx="1900">0.18941647079745644</cx:pt>
          <cx:pt idx="1901">0.19008349389785265</cx:pt>
          <cx:pt idx="1902">0.20006911746061681</cx:pt>
          <cx:pt idx="1903">0.26062580603516033</cx:pt>
          <cx:pt idx="1904">0.28745206075149327</cx:pt>
          <cx:pt idx="1905">0.34148515578242966</cx:pt>
          <cx:pt idx="1906">0.39276431721607419</cx:pt>
          <cx:pt idx="1907">0.3968587855482163</cx:pt>
          <cx:pt idx="1908">0.42793918231424544</cx:pt>
          <cx:pt idx="1909">0.46707934749469182</cx:pt>
          <cx:pt idx="1910">0.48564529460829092</cx:pt>
          <cx:pt idx="1911">0.48954811721790192</cx:pt>
          <cx:pt idx="1912">0.52150238071986821</cx:pt>
          <cx:pt idx="1913">0.54420719135114037</cx:pt>
          <cx:pt idx="1914">0.55028666584275454</cx:pt>
          <cx:pt idx="1915">0.56622602891096219</cx:pt>
          <cx:pt idx="1916">0.55295476130632348</cx:pt>
          <cx:pt idx="1917">0.54643624347755415</cx:pt>
          <cx:pt idx="1918">0.56226854934235138</cx:pt>
          <cx:pt idx="1919">0.57754066045555774</cx:pt>
          <cx:pt idx="1920">0.56264361877174207</cx:pt>
          <cx:pt idx="1921">0.54261975236517146</cx:pt>
          <cx:pt idx="1922">0.52752637488680176</cx:pt>
          <cx:pt idx="1923">0.5233841876491121</cx:pt>
          <cx:pt idx="1924">0.51723689898126091</cx:pt>
          <cx:pt idx="1925">0.51023757729355779</cx:pt>
          <cx:pt idx="1926">0.48537325761185973</cx:pt>
          <cx:pt idx="1927">0.4533403428509275</cx:pt>
          <cx:pt idx="1928">0.42636276165257908</cx:pt>
          <cx:pt idx="1929">0.39528971172812183</cx:pt>
          <cx:pt idx="1930">0.37559512261861383</cx:pt>
          <cx:pt idx="1931">0.34424102195415351</cx:pt>
          <cx:pt idx="1932">0.31170879275360569</cx:pt>
          <cx:pt idx="1933">0.28357720885744864</cx:pt>
          <cx:pt idx="1934">0.29118279528933982</cx:pt>
          <cx:pt idx="1935">0.32041096681321646</cx:pt>
          <cx:pt idx="1936">0.32595417449629488</cx:pt>
          <cx:pt idx="1937">0.32672854966613052</cx:pt>
          <cx:pt idx="1938">0.3129002642280686</cx:pt>
          <cx:pt idx="1939">0.31378634525120958</cx:pt>
          <cx:pt idx="1940">0.31154429201761014</cx:pt>
          <cx:pt idx="1941">0.32882836299071116</cx:pt>
          <cx:pt idx="1942">0.32630089141238655</cx:pt>
          <cx:pt idx="1943">0.32455045454584835</cx:pt>
          <cx:pt idx="1944">0.32348213840524198</cx:pt>
          <cx:pt idx="1945">0.32166918917921539</cx:pt>
          <cx:pt idx="1946">0.32183286397488337</cx:pt>
          <cx:pt idx="1947">0.31859033197475861</cx:pt>
          <cx:pt idx="1948">0.32812606859955329</cx:pt>
          <cx:pt idx="1949">0.33158913926110634</cx:pt>
          <cx:pt idx="1950">0.33552720920909668</cx:pt>
          <cx:pt idx="1951">0.34022287047553468</cx:pt>
          <cx:pt idx="1952">0.34723469348318481</cx:pt>
          <cx:pt idx="1953">0.34800062967431006</cx:pt>
          <cx:pt idx="1954">0.34105642911145528</cx:pt>
          <cx:pt idx="1955">0.34266320829127533</cx:pt>
          <cx:pt idx="1956">0.34361323279796258</cx:pt>
          <cx:pt idx="1957">0.33282286602164263</cx:pt>
          <cx:pt idx="1958">0.33981513631003324</cx:pt>
          <cx:pt idx="1959">0.33981513631003329</cx:pt>
          <cx:pt idx="1960">0.33329737399023907</cx:pt>
          <cx:pt idx="1961">0.33290406213036644</cx:pt>
          <cx:pt idx="1962">0.31374419011969262</cx:pt>
          <cx:pt idx="1963">0.31729109324906618</cx:pt>
          <cx:pt idx="1964">0.31685135890599953</cx:pt>
          <cx:pt idx="1965">0.30850447523421237</cx:pt>
          <cx:pt idx="1966">0.28046461007756873</cx:pt>
          <cx:pt idx="1967">0.30577512828585585</cx:pt>
          <cx:pt idx="1968">0.30518912538203469</cx:pt>
          <cx:pt idx="1969">0.30489155611613827</cx:pt>
          <cx:pt idx="1970">0.30923078869779924</cx:pt>
          <cx:pt idx="1971">0.30827190547703942</cx:pt>
          <cx:pt idx="1972">0.29925918392315737</cx:pt>
          <cx:pt idx="1973">0.30823020864458761</cx:pt>
          <cx:pt idx="1974">0.30733942871063602</cx:pt>
          <cx:pt idx="1975">0.307322920049722</cx:pt>
          <cx:pt idx="1976">0.30968955986378821</cx:pt>
          <cx:pt idx="1977">0.31256228321978602</cx:pt>
          <cx:pt idx="1978">0.31607502494622242</cx:pt>
          <cx:pt idx="1979">0.30679988886501003</cx:pt>
          <cx:pt idx="1980">0.30363120581285019</cx:pt>
          <cx:pt idx="1981">0.30019074331378676</cx:pt>
          <cx:pt idx="1982">0.29399567617178196</cx:pt>
          <cx:pt idx="1983">0.2883513361351322</cx:pt>
          <cx:pt idx="1984">0.29566696397459435</cx:pt>
          <cx:pt idx="1985">0.2957014716899517</cx:pt>
          <cx:pt idx="1986">0.29737746784274299</cx:pt>
          <cx:pt idx="1987">0.31600121343665682</cx:pt>
          <cx:pt idx="1988">0.31739688393017912</cx:pt>
          <cx:pt idx="1989">0.3105018556806719</cx:pt>
          <cx:pt idx="1990">0.31131148279624277</cx:pt>
          <cx:pt idx="1991">0.3150054607256641</cx:pt>
          <cx:pt idx="1992">0.31544522502258321</cx:pt>
          <cx:pt idx="1993">0.31542455803066677</cx:pt>
          <cx:pt idx="1994">0.30508139242810389</cx:pt>
          <cx:pt idx="1995">0.32371481392338486</cx:pt>
          <cx:pt idx="1996">0.33962909502861177</cx:pt>
          <cx:pt idx="1997">0.34773120949562869</cx:pt>
          <cx:pt idx="1998">0.33157242962186656</cx:pt>
          <cx:pt idx="1999">0.3380156259642334</cx:pt>
          <cx:pt idx="2000">0.34251768653214282</cx:pt>
          <cx:pt idx="2001">0.34062157271161475</cx:pt>
          <cx:pt idx="2002">0.34194127320090256</cx:pt>
          <cx:pt idx="2003">0.33436676003796673</cx:pt>
          <cx:pt idx="2004">0.31739435630858148</cx:pt>
          <cx:pt idx="2005">0.31546603672098444</cx:pt>
          <cx:pt idx="2006">0.31751431360905069</cx:pt>
          <cx:pt idx="2007">0.31271176082083246</cx:pt>
          <cx:pt idx="2008">0.33065438844646561</cx:pt>
          <cx:pt idx="2009">0.32825227200765927</cx:pt>
          <cx:pt idx="2010">0.32153627116207212</cx:pt>
          <cx:pt idx="2011">0.31879036953186979</cx:pt>
          <cx:pt idx="2012">0.31066599465321987</cx:pt>
          <cx:pt idx="2013">0.30731512102512343</cx:pt>
          <cx:pt idx="2014">0.31673245513453441</cx:pt>
          <cx:pt idx="2015">0.31181102995334337</cx:pt>
          <cx:pt idx="2016">0.31165585271916846</cx:pt>
          <cx:pt idx="2017">0.31771027316101252</cx:pt>
          <cx:pt idx="2018">0.30579541982519992</cx:pt>
          <cx:pt idx="2019">0.30669653181882817</cx:pt>
          <cx:pt idx="2020">0.30933202163222023</cx:pt>
          <cx:pt idx="2021">0.31889286960970326</cx:pt>
          <cx:pt idx="2022">0.31471232683258182</cx:pt>
          <cx:pt idx="2023">0.31854504549653073</cx:pt>
          <cx:pt idx="2024">0.32744410656419576</cx:pt>
          <cx:pt idx="2025">0.33648155678523384</cx:pt>
          <cx:pt idx="2026">0.31700476071846284</cx:pt>
          <cx:pt idx="2027">0.29334726270670886</cx:pt>
          <cx:pt idx="2028">0.29631849284457312</cx:pt>
          <cx:pt idx="2029">0.27863117274405741</cx:pt>
          <cx:pt idx="2030">0.29006024814323295</cx:pt>
          <cx:pt idx="2031">0.28840838987043288</cx:pt>
          <cx:pt idx="2032">0.28716804864413192</cx:pt>
          <cx:pt idx="2033">0.29099002725105733</cx:pt>
          <cx:pt idx="2034">0.29282351565873144</cx:pt>
          <cx:pt idx="2035">0.29769532428997914</cx:pt>
          <cx:pt idx="2036">0.29770697729866952</cx:pt>
          <cx:pt idx="2037">0.29587247952893236</cx:pt>
          <cx:pt idx="2038">0.29886772733380979</cx:pt>
          <cx:pt idx="2039">0.27386818615807446</cx:pt>
          <cx:pt idx="2040">0.27437234366052249</cx:pt>
          <cx:pt idx="2041">0.27165467489776585</cx:pt>
          <cx:pt idx="2042">0.25972830878473591</cx:pt>
          <cx:pt idx="2043">0.26180899357402132</cx:pt>
          <cx:pt idx="2044">0.26788254470190065</cx:pt>
          <cx:pt idx="2045">0.26214180597718395</cx:pt>
          <cx:pt idx="2046">0.26045566728311659</cx:pt>
          <cx:pt idx="2047">0.2608768070766152</cx:pt>
          <cx:pt idx="2048">0.25956234323023208</cx:pt>
          <cx:pt idx="2049">0.25811206726229113</cx:pt>
          <cx:pt idx="2050">0.25307283544196402</cx:pt>
          <cx:pt idx="2051">0.24762619447362078</cx:pt>
          <cx:pt idx="2052">0.24141975000437879</cx:pt>
          <cx:pt idx="2053">0.24685503859056016</cx:pt>
          <cx:pt idx="2054">0.24682975813272842</cx:pt>
          <cx:pt idx="2055">0.26001864176341494</cx:pt>
          <cx:pt idx="2056">0.23726235547039817</cx:pt>
          <cx:pt idx="2057">0.25097003463271755</cx:pt>
          <cx:pt idx="2058">0.26475889395654062</cx:pt>
          <cx:pt idx="2059">0.2604080086981318</cx:pt>
          <cx:pt idx="2060">0.26077759458023647</cx:pt>
          <cx:pt idx="2061">0.25161503533745089</cx:pt>
          <cx:pt idx="2062">0.25236805103108201</cx:pt>
          <cx:pt idx="2063">0.2526001509052655</cx:pt>
          <cx:pt idx="2064">0.2655653239482651</cx:pt>
          <cx:pt idx="2065">0.26922084576569577</cx:pt>
          <cx:pt idx="2066">0.2701441681576715</cx:pt>
          <cx:pt idx="2067">0.27162486927436702</cx:pt>
          <cx:pt idx="2068">0.28239470487924634</cx:pt>
          <cx:pt idx="2069">0.28305867330464574</cx:pt>
          <cx:pt idx="2070">0.2964357767121103</cx:pt>
          <cx:pt idx="2071">0.30490465024056229</cx:pt>
          <cx:pt idx="2072">0.30745848673210857</cx:pt>
          <cx:pt idx="2073">0.32735926665008125</cx:pt>
          <cx:pt idx="2074">0.32906299966584091</cx:pt>
          <cx:pt idx="2075">0.32884262437806816</cx:pt>
          <cx:pt idx="2076">0.33770621469803769</cx:pt>
          <cx:pt idx="2077">0.33841300628722643</cx:pt>
          <cx:pt idx="2078">0.35226085339056967</cx:pt>
          <cx:pt idx="2079">0.34577728086925613</cx:pt>
          <cx:pt idx="2080">0.34096812751813427</cx:pt>
          <cx:pt idx="2081">0.3443932076612275</cx:pt>
          <cx:pt idx="2082">0.34490816679289321</cx:pt>
          <cx:pt idx="2083">0.34944140975624921</cx:pt>
          <cx:pt idx="2084">0.34796655696531287</cx:pt>
          <cx:pt idx="2085">0.3502721431594904</cx:pt>
          <cx:pt idx="2086">0.34024796504805727</cx:pt>
          <cx:pt idx="2087">0.33994924536444848</cx:pt>
          <cx:pt idx="2088">0.33040223906058414</cx:pt>
          <cx:pt idx="2089">0.33197392551713628</cx:pt>
          <cx:pt idx="2090">0.32803385987503436</cx:pt>
          <cx:pt idx="2091">0.3275771322841205</cx:pt>
          <cx:pt idx="2092">0.32785864987535496</cx:pt>
          <cx:pt idx="2093">0.32664401212678268</cx:pt>
          <cx:pt idx="2094">0.33429385152909125</cx:pt>
          <cx:pt idx="2095">0.31133178988067772</cx:pt>
          <cx:pt idx="2096">0.31179369045622474</cx:pt>
          <cx:pt idx="2097">0.31246187352454347</cx:pt>
          <cx:pt idx="2098">0.31364393060556189</cx:pt>
          <cx:pt idx="2099">0.30523897293499752</cx:pt>
          <cx:pt idx="2100">0.32288640441309169</cx:pt>
          <cx:pt idx="2101">0.31263281058590792</cx:pt>
          <cx:pt idx="2102">0.30683037209036967</cx:pt>
          <cx:pt idx="2103">0.30284774826377775</cx:pt>
          <cx:pt idx="2104">0.27580740885547617</cx:pt>
          <cx:pt idx="2105">0.28251353964949216</cx:pt>
          <cx:pt idx="2106">0.30095244230785134</cx:pt>
          <cx:pt idx="2107">0.29461657415770792</cx:pt>
          <cx:pt idx="2108">0.29500181742203585</cx:pt>
          <cx:pt idx="2109">0.27640544716583265</cx:pt>
          <cx:pt idx="2110">0.27477512556556616</cx:pt>
          <cx:pt idx="2111">0.27233212570314475</cx:pt>
          <cx:pt idx="2112">0.26934198099171491</cx:pt>
          <cx:pt idx="2113">0.27441487287840693</cx:pt>
          <cx:pt idx="2114">0.26780506001109633</cx:pt>
          <cx:pt idx="2115">0.26514568036236935</cx:pt>
          <cx:pt idx="2116">0.26981967714047406</cx:pt>
          <cx:pt idx="2117">0.26498458133923497</cx:pt>
          <cx:pt idx="2118">0.26550466665312611</cx:pt>
          <cx:pt idx="2119">0.28956952919876355</cx:pt>
          <cx:pt idx="2120">0.27286553303647398</cx:pt>
          <cx:pt idx="2121">0.28232943800787919</cx:pt>
          <cx:pt idx="2122">0.28140120691870052</cx:pt>
          <cx:pt idx="2123">0.28319030413279184</cx:pt>
          <cx:pt idx="2124">0.2836210225859454</cx:pt>
          <cx:pt idx="2125">0.29605339737106445</cx:pt>
          <cx:pt idx="2126">0.30426062864920933</cx:pt>
          <cx:pt idx="2127">0.30366634986166252</cx:pt>
          <cx:pt idx="2128">0.29962766932568974</cx:pt>
          <cx:pt idx="2129">0.31483600044902793</cx:pt>
          <cx:pt idx="2130">0.32664771970027079</cx:pt>
          <cx:pt idx="2131">0.31149953158092059</cx:pt>
          <cx:pt idx="2132">0.31149953158092053</cx:pt>
          <cx:pt idx="2133">0.31094357606307571</cx:pt>
          <cx:pt idx="2134">0.31567992502639597</cx:pt>
          <cx:pt idx="2135">0.31409432854636848</cx:pt>
          <cx:pt idx="2136">0.31022165750227543</cx:pt>
          <cx:pt idx="2137">0.29963501677528231</cx:pt>
          <cx:pt idx="2138">0.31260899119122698</cx:pt>
          <cx:pt idx="2139">0.3209116068376347</cx:pt>
          <cx:pt idx="2140">0.33512672761478518</cx:pt>
          <cx:pt idx="2141">0.33828680113899212</cx:pt>
          <cx:pt idx="2142">0.33980414253094404</cx:pt>
          <cx:pt idx="2143">0.35243816790375576</cx:pt>
          <cx:pt idx="2144">0.35375092671152675</cx:pt>
          <cx:pt idx="2145">0.3535881927902203</cx:pt>
          <cx:pt idx="2146">0.35790192523795789</cx:pt>
          <cx:pt idx="2147">0.35180276577204866</cx:pt>
          <cx:pt idx="2148">0.36462496942073952</cx:pt>
          <cx:pt idx="2149">0.36352238807311904</cx:pt>
          <cx:pt idx="2150">0.33722009652546703</cx:pt>
          <cx:pt idx="2151">0.34947307262283078</cx:pt>
          <cx:pt idx="2152">0.35254487573571797</cx:pt>
          <cx:pt idx="2153">0.3512283776699871</cx:pt>
          <cx:pt idx="2154">0.35436513300850203</cx:pt>
          <cx:pt idx="2155">0.37214938437921541</cx:pt>
          <cx:pt idx="2156">0.35520679743029776</cx:pt>
          <cx:pt idx="2157">0.34794641672123428</cx:pt>
          <cx:pt idx="2158">0.34810251064904213</cx:pt>
          <cx:pt idx="2159">0.34974505418687019</cx:pt>
          <cx:pt idx="2160">0.34549735987905478</cx:pt>
          <cx:pt idx="2161">0.33860241375523797</cx:pt>
          <cx:pt idx="2162">0.33488101596866476</cx:pt>
          <cx:pt idx="2163">0.33057841502514151</cx:pt>
          <cx:pt idx="2164">0.32361684886700293</cx:pt>
          <cx:pt idx="2165">0.31752039832358148</cx:pt>
          <cx:pt idx="2166">0.32278321239998442</cx:pt>
          <cx:pt idx="2167">0.32184589831757676</cx:pt>
          <cx:pt idx="2168">0.33402993986662927</cx:pt>
          <cx:pt idx="2169">0.32679647590962468</cx:pt>
          <cx:pt idx="2170">0.33469624027686351</cx:pt>
          <cx:pt idx="2171">0.32560296202234967</cx:pt>
          <cx:pt idx="2172">0.32995008205236248</cx:pt>
          <cx:pt idx="2173">0.33836419162015408</cx:pt>
          <cx:pt idx="2174">0.32831110604870545</cx:pt>
          <cx:pt idx="2175">0.3248529493547993</cx:pt>
          <cx:pt idx="2176">0.32734414978410514</cx:pt>
          <cx:pt idx="2177">0.34363042794330018</cx:pt>
          <cx:pt idx="2178">0.3438073106053442</cx:pt>
          <cx:pt idx="2179">0.33095091515258596</cx:pt>
          <cx:pt idx="2180">0.33220326783672288</cx:pt>
          <cx:pt idx="2181">0.33258626032901473</cx:pt>
          <cx:pt idx="2182">0.31732084259600829</cx:pt>
          <cx:pt idx="2183">0.31329581045033111</cx:pt>
          <cx:pt idx="2184">0.31632153234456462</cx:pt>
          <cx:pt idx="2185">0.31085898077697877</cx:pt>
          <cx:pt idx="2186">0.29844876145159593</cx:pt>
          <cx:pt idx="2187">0.30205755849135085</cx:pt>
          <cx:pt idx="2188">0.31978432424475178</cx:pt>
          <cx:pt idx="2189">0.32880926986301129</cx:pt>
          <cx:pt idx="2190">0.34101904943775502</cx:pt>
          <cx:pt idx="2191">0.34031508734751531</cx:pt>
          <cx:pt idx="2192">0.34379601293221568</cx:pt>
          <cx:pt idx="2193">0.34380752047941943</cx:pt>
          <cx:pt idx="2194">0.416272759441702</cx:pt>
          <cx:pt idx="2195">0.46928696414253485</cx:pt>
          <cx:pt idx="2196">0.53744295220052929</cx:pt>
          <cx:pt idx="2197">0.55634338122507598</cx:pt>
          <cx:pt idx="2198">0.59275447819076976</cx:pt>
          <cx:pt idx="2199">0.62781208667165067</cx:pt>
          <cx:pt idx="2200">0.67116911398120171</cx:pt>
          <cx:pt idx="2201">0.66348485140004299</cx:pt>
          <cx:pt idx="2202">0.66865191772555821</cx:pt>
          <cx:pt idx="2203">0.69131978592459997</cx:pt>
          <cx:pt idx="2204">0.70103184133041097</cx:pt>
          <cx:pt idx="2205">0.69176524954784557</cx:pt>
          <cx:pt idx="2206">0.69334774767438201</cx:pt>
          <cx:pt idx="2207">0.67305125598592142</cx:pt>
          <cx:pt idx="2208">0.70704301982296247</cx:pt>
          <cx:pt idx="2209">0.7121418292064674</cx:pt>
          <cx:pt idx="2210">0.70904489515225488</cx:pt>
          <cx:pt idx="2211">0.68107945252237201</cx:pt>
          <cx:pt idx="2212">0.67213112825283083</cx:pt>
          <cx:pt idx="2213">0.66126783065034012</cx:pt>
          <cx:pt idx="2214">0.61196881158249561</cx:pt>
          <cx:pt idx="2215">0.5723826684861123</cx:pt>
          <cx:pt idx="2216">0.53696005984800133</cx:pt>
          <cx:pt idx="2217">0.47642590220040021</cx:pt>
          <cx:pt idx="2218">0.47434402991209984</cx:pt>
          <cx:pt idx="2219">0.46367316227783323</cx:pt>
          <cx:pt idx="2220">0.44738695200190504</cx:pt>
          <cx:pt idx="2221">0.43543492734558831</cx:pt>
          <cx:pt idx="2222">0.39121279052877606</cx:pt>
          <cx:pt idx="2223">0.37057747497480026</cx:pt>
          <cx:pt idx="2224">0.29371818515354847</cx:pt>
          <cx:pt idx="2225">0.29373048008855435</cx:pt>
          <cx:pt idx="2226">0.29789459365503024</cx:pt>
          <cx:pt idx="2227">0.29518956696627957</cx:pt>
          <cx:pt idx="2228">0.29518956696627957</cx:pt>
          <cx:pt idx="2229">0.29513845560802249</cx:pt>
          <cx:pt idx="2230">0.29322117212571752</cx:pt>
          <cx:pt idx="2231">0.28904931388606231</cx:pt>
          <cx:pt idx="2232">0.29018774335841102</cx:pt>
          <cx:pt idx="2233">0.29269455029702918</cx:pt>
          <cx:pt idx="2234">0.29230015125820069</cx:pt>
          <cx:pt idx="2235">0.2984998190988849</cx:pt>
          <cx:pt idx="2236">0.29876177281578986</cx:pt>
          <cx:pt idx="2237">0.45963245005465475</cx:pt>
          <cx:pt idx="2238">0.56832830083908736</cx:pt>
          <cx:pt idx="2239">0.73682001620203352</cx:pt>
          <cx:pt idx="2240">0.8306516378113501</cx:pt>
          <cx:pt idx="2241">0.90931314709819555</cx:pt>
          <cx:pt idx="2242">0.96783865149416581</cx:pt>
          <cx:pt idx="2243">1.0030230593842537</cx:pt>
          <cx:pt idx="2244">1.0703741391987631</cx:pt>
          <cx:pt idx="2245">1.1122526683370242</cx:pt>
          <cx:pt idx="2246">1.4818899985240062</cx:pt>
          <cx:pt idx="2247">1.7642731431371745</cx:pt>
          <cx:pt idx="2248">1.9915279843949603</cx:pt>
          <cx:pt idx="2249">2.1846379430665026</cx:pt>
          <cx:pt idx="2250">2.3519935353334676</cx:pt>
          <cx:pt idx="2251">2.4992137588071226</cx:pt>
          <cx:pt idx="2252">2.6297968256875337</cx:pt>
          <cx:pt idx="2253">2.7466743959015631</cx:pt>
          <cx:pt idx="2254">2.8519314767951864</cx:pt>
          <cx:pt idx="2255">2.9434352601409728</cx:pt>
          <cx:pt idx="2256">3.0254526922204432</cx:pt>
          <cx:pt idx="2257">3.093396266519878</cx:pt>
          <cx:pt idx="2258">3.1503441390097562</cx:pt>
          <cx:pt idx="2259">3.2030284776570586</cx:pt>
          <cx:pt idx="2260">3.2456594685199169</cx:pt>
          <cx:pt idx="2261">3.2817609501440801</cx:pt>
          <cx:pt idx="2262">3.2608150426436402</cx:pt>
          <cx:pt idx="2263">3.2419952951075697</cx:pt>
          <cx:pt idx="2264">3.2231831506289526</cx:pt>
          <cx:pt idx="2265">3.2059501047150278</cx:pt>
          <cx:pt idx="2266">3.1828185061679397</cx:pt>
          <cx:pt idx="2267">3.1550536107505729</cx:pt>
          <cx:pt idx="2268">3.0713920833345449</cx:pt>
          <cx:pt idx="2269">2.9774094806439471</cx:pt>
          <cx:pt idx="2270">2.8317229459099074</cx:pt>
          <cx:pt idx="2271">2.7046287017166488</cx:pt>
          <cx:pt idx="2272">2.5590140312332097</cx:pt>
          <cx:pt idx="2273">2.4082531264400924</cx:pt>
          <cx:pt idx="2274">2.253107983489568</cx:pt>
          <cx:pt idx="2275">2.0140980057201823</cx:pt>
          <cx:pt idx="2276">1.752265477573256</cx:pt>
          <cx:pt idx="2277">1.7789793412688237</cx:pt>
          <cx:pt idx="2278">1.7692228545440034</cx:pt>
          <cx:pt idx="2279">1.7598466427303849</cx:pt>
          <cx:pt idx="2280">1.7412786840263721</cx:pt>
          <cx:pt idx="2281">1.7126036031349263</cx:pt>
          <cx:pt idx="2282">1.6768377512774251</cx:pt>
          <cx:pt idx="2283">1.6280866396117493</cx:pt>
          <cx:pt idx="2284">1.5644874035195071</cx:pt>
          <cx:pt idx="2285">1.4963555899265075</cx:pt>
          <cx:pt idx="2286">1.4185525259253784</cx:pt>
          <cx:pt idx="2287">1.3255401716251667</cx:pt>
          <cx:pt idx="2288">1.228578220539928</cx:pt>
          <cx:pt idx="2289">1.0906173827388321</cx:pt>
          <cx:pt idx="2290">0.92778119463870123</cx:pt>
          <cx:pt idx="2291">0.70089834300106124</cx:pt>
          <cx:pt idx="2292">0.31153138361927829</cx:pt>
          <cx:pt idx="2293">0.31277405628290877</cx:pt>
          <cx:pt idx="2294">0.30158711733816801</cx:pt>
          <cx:pt idx="2295">0.30018564944176984</cx:pt>
          <cx:pt idx="2296">0.29513581991099014</cx:pt>
          <cx:pt idx="2297">0.29332897742040198</cx:pt>
          <cx:pt idx="2298">0.2869778843515538</cx:pt>
          <cx:pt idx="2299">0.28752353646801332</cx:pt>
          <cx:pt idx="2300">0.27915476775930992</cx:pt>
          <cx:pt idx="2301">0.27523177595688131</cx:pt>
          <cx:pt idx="2302">0.27250927283515802</cx:pt>
          <cx:pt idx="2303">0.28923904852996829</cx:pt>
          <cx:pt idx="2304">0.2853450652214094</cx:pt>
          <cx:pt idx="2305">0.28963353590838653</cx:pt>
          <cx:pt idx="2306">0.29840255648976327</cx:pt>
          <cx:pt idx="2307">0.31098802793382135</cx:pt>
          <cx:pt idx="2308">0.3001557684393793</cx:pt>
          <cx:pt idx="2309">0.30015602519940243</cx:pt>
          <cx:pt idx="2310">0.30193902654466553</cx:pt>
          <cx:pt idx="2311">0.30986570054127482</cx:pt>
          <cx:pt idx="2312">0.32618479923634341</cx:pt>
          <cx:pt idx="2313">0.32294815566149238</cx:pt>
          <cx:pt idx="2314">0.32354615745889248</cx:pt>
          <cx:pt idx="2315">0.32080954336199247</cx:pt>
          <cx:pt idx="2316">0.3245478687703871</cx:pt>
          <cx:pt idx="2317">0.32212135276111353</cx:pt>
          <cx:pt idx="2318">0.32053447317518363</cx:pt>
          <cx:pt idx="2319">0.2976889933273234</cx:pt>
          <cx:pt idx="2320">0.29764356337523101</cx:pt>
          <cx:pt idx="2321">0.29789673555433649</cx:pt>
          <cx:pt idx="2322">0.30196282098205157</cx:pt>
          <cx:pt idx="2323">0.30895990205433277</cx:pt>
          <cx:pt idx="2324">0.30997196535615945</cx:pt>
          <cx:pt idx="2325">0.31387825578906919</cx:pt>
          <cx:pt idx="2326">0.31266193329380942</cx:pt>
          <cx:pt idx="2327">0.32542565753380315</cx:pt>
          <cx:pt idx="2328">0.3367210486734119</cx:pt>
          <cx:pt idx="2329">0.34188808771419715</cx:pt>
          <cx:pt idx="2330">0.35116311413656631</cx:pt>
          <cx:pt idx="2331">0.36119044796158295</cx:pt>
          <cx:pt idx="2332">0.37504405675672176</cx:pt>
          <cx:pt idx="2333">0.37769159397523067</cx:pt>
          <cx:pt idx="2334">0.38343883342483548</cx:pt>
          <cx:pt idx="2335">0.3841988963432485</cx:pt>
          <cx:pt idx="2336">0.3810267061209125</cx:pt>
          <cx:pt idx="2337">0.37354880215119873</cx:pt>
          <cx:pt idx="2338">0.36885534261303654</cx:pt>
          <cx:pt idx="2339">0.37114422424024596</cx:pt>
          <cx:pt idx="2340">0.37160765090854059</cx:pt>
          <cx:pt idx="2341">0.37308766483892225</cx:pt>
          <cx:pt idx="2342">0.36303508137398277</cx:pt>
          <cx:pt idx="2343">0.34373080257197036</cx:pt>
          <cx:pt idx="2344">0.34370758086671382</cx:pt>
          <cx:pt idx="2345">0.34092677359931889</cx:pt>
          <cx:pt idx="2346">0.34662823155047012</cx:pt>
          <cx:pt idx="2347">0.36070239254051395</cx:pt>
          <cx:pt idx="2348">0.36195368177765114</cx:pt>
          <cx:pt idx="2349">0.36706057689776572</cx:pt>
          <cx:pt idx="2350">0.36635371449445647</cx:pt>
          <cx:pt idx="2351">0.3680473219900095</cx:pt>
          <cx:pt idx="2352">0.36173855774922919</cx:pt>
          <cx:pt idx="2353">0.35962457130740805</cx:pt>
          <cx:pt idx="2354">0.35714590668953089</cx:pt>
          <cx:pt idx="2355">0.35205674990698493</cx:pt>
          <cx:pt idx="2356">0.35434526304582326</cx:pt>
          <cx:pt idx="2357">0.36433152138717395</cx:pt>
          <cx:pt idx="2358">0.3686082615169558</cx:pt>
          <cx:pt idx="2359">0.36577711457881124</cx:pt>
          <cx:pt idx="2360">0.37562402151825591</cx:pt>
          <cx:pt idx="2361">0.37108274524072066</cx:pt>
          <cx:pt idx="2362">0.36081974337328748</cx:pt>
          <cx:pt idx="2363">0.34887164087855638</cx:pt>
          <cx:pt idx="2364">0.34730282269299001</cx:pt>
          <cx:pt idx="2365">0.32950555978966745</cx:pt>
          <cx:pt idx="2366">0.32731740766822481</cx:pt>
          <cx:pt idx="2367">0.33152857537859559</cx:pt>
          <cx:pt idx="2368">0.33953827920746876</cx:pt>
          <cx:pt idx="2369">0.33414724435044185</cx:pt>
          <cx:pt idx="2370">0.3234903778209694</cx:pt>
          <cx:pt idx="2371">0.34379496738063431</cx:pt>
          <cx:pt idx="2372">0.34312342945322938</cx:pt>
          <cx:pt idx="2373">0.3450705398085363</cx:pt>
          <cx:pt idx="2374">0.34503843339565965</cx:pt>
          <cx:pt idx="2375">0.34974313418492731</cx:pt>
          <cx:pt idx="2376">0.35409436943171757</cx:pt>
          <cx:pt idx="2377">0.34518447746506054</cx:pt>
          <cx:pt idx="2378">0.3475427051901383</cx:pt>
          <cx:pt idx="2379">0.35813889349160355</cx:pt>
          <cx:pt idx="2380">0.3495447442698506</cx:pt>
          <cx:pt idx="2381">0.33739867054403266</cx:pt>
          <cx:pt idx="2382">0.3401426351448163</cx:pt>
          <cx:pt idx="2383">0.34566803673962315</cx:pt>
          <cx:pt idx="2384">0.35633255261940361</cx:pt>
          <cx:pt idx="2385">0.35240879485099025</cx:pt>
          <cx:pt idx="2386">0.36342574900910546</cx:pt>
          <cx:pt idx="2387">0.36252301179720631</cx:pt>
          <cx:pt idx="2388">0.35757881270492481</cx:pt>
          <cx:pt idx="2389">0.3538372274853101</cx:pt>
          <cx:pt idx="2390">0.3668881397014232</cx:pt>
          <cx:pt idx="2391">0.35366375328737198</cx:pt>
          <cx:pt idx="2392">0.35858785737246984</cx:pt>
          <cx:pt idx="2393">0.35068346342943901</cx:pt>
          <cx:pt idx="2394">0.35641592364230479</cx:pt>
          <cx:pt idx="2395">0.3581470816785704</cx:pt>
          <cx:pt idx="2396">0.36455734896454123</cx:pt>
          <cx:pt idx="2397">0.37026574624205078</cx:pt>
          <cx:pt idx="2398">0.37330491307347341</cx:pt>
          <cx:pt idx="2399">0.37193705557470652</cx:pt>
          <cx:pt idx="2400">0.37928679184797315</cx:pt>
          <cx:pt idx="2401">0.38304974351334486</cx:pt>
          <cx:pt idx="2402">0.36415728991004492</cx:pt>
          <cx:pt idx="2403">0.36764776721847514</cx:pt>
          <cx:pt idx="2404">0.37493002347943072</cx:pt>
          <cx:pt idx="2405">0.38417526297846816</cx:pt>
          <cx:pt idx="2406">0.38698587970354403</cx:pt>
          <cx:pt idx="2407">0.39178996255448051</cx:pt>
          <cx:pt idx="2408">0.39732475868288047</cx:pt>
          <cx:pt idx="2409">0.38357211426890025</cx:pt>
          <cx:pt idx="2410">0.36719008983809864</cx:pt>
          <cx:pt idx="2411">0.37774482267167819</cx:pt>
          <cx:pt idx="2412">0.39273852437848894</cx:pt>
          <cx:pt idx="2413">0.40234798684861989</cx:pt>
          <cx:pt idx="2414">0.40767733828021957</cx:pt>
          <cx:pt idx="2415">0.40268861611841072</cx:pt>
          <cx:pt idx="2416">0.4301902146897556</cx:pt>
          <cx:pt idx="2417">0.38077725600392393</cx:pt>
          <cx:pt idx="2418">0.4160377652396729</cx:pt>
          <cx:pt idx="2419">0.43143469780528171</cx:pt>
          <cx:pt idx="2420">0.4664874378896674</cx:pt>
          <cx:pt idx="2421">0.11425663148166298</cx:pt>
          <cx:pt idx="2422">0.14554120915130589</cx:pt>
        </cx:lvl>
      </cx:numDim>
    </cx:data>
    <cx:data id="6">
      <cx:numDim type="val">
        <cx:f>'Data Repository Table'!$I$4937:$I$7360</cx:f>
        <cx:lvl ptCount="2424" formatCode="General">
          <cx:pt idx="0">2.2650992222866337</cx:pt>
          <cx:pt idx="1">2.289876569131462</cx:pt>
          <cx:pt idx="2">2.199959121632125</cx:pt>
          <cx:pt idx="3">2.2338675879747849</cx:pt>
          <cx:pt idx="4">2.2548380600333644</cx:pt>
          <cx:pt idx="5">2.2541236637579072</cx:pt>
          <cx:pt idx="6">2.1991418796123385</cx:pt>
          <cx:pt idx="7">2.180337555607812</cx:pt>
          <cx:pt idx="8">2.2048879721018109</cx:pt>
          <cx:pt idx="9">2.1740698192052132</cx:pt>
          <cx:pt idx="10">2.1681233610510828</cx:pt>
          <cx:pt idx="11">2.2284412519120034</cx:pt>
          <cx:pt idx="12">2.2417923603133008</cx:pt>
          <cx:pt idx="13">2.2032326411240413</cx:pt>
          <cx:pt idx="14">2.1570518436469186</cx:pt>
          <cx:pt idx="15">2.1387542208002817</cx:pt>
          <cx:pt idx="16">2.173987740574888</cx:pt>
          <cx:pt idx="17">2.2357296703715819</cx:pt>
          <cx:pt idx="18">2.2242797134107524</cx:pt>
          <cx:pt idx="19">2.1658577193654618</cx:pt>
          <cx:pt idx="20">2.2220145404893872</cx:pt>
          <cx:pt idx="21">2.220519576404131</cx:pt>
          <cx:pt idx="22">2.2853921996984932</cx:pt>
          <cx:pt idx="23">2.2420533364754749</cx:pt>
          <cx:pt idx="24">2.2835268728693934</cx:pt>
          <cx:pt idx="25">2.2955214318139503</cx:pt>
          <cx:pt idx="26">2.3004499615881451</cx:pt>
          <cx:pt idx="27">2.2775993135873018</cx:pt>
          <cx:pt idx="28">2.2496117934797519</cx:pt>
          <cx:pt idx="29">2.2999471052843048</cx:pt>
          <cx:pt idx="30">2.311564934126102</cx:pt>
          <cx:pt idx="31">2.3588475437485426</cx:pt>
          <cx:pt idx="32">2.3430988344224128</cx:pt>
          <cx:pt idx="33">2.3309979044998932</cx:pt>
          <cx:pt idx="34">2.3334519018763173</cx:pt>
          <cx:pt idx="35">2.3172439403847771</cx:pt>
          <cx:pt idx="36">2.3475108250377112</cx:pt>
          <cx:pt idx="37">2.3504362592349861</cx:pt>
          <cx:pt idx="38">2.3819126483919262</cx:pt>
          <cx:pt idx="39">2.3561484520937044</cx:pt>
          <cx:pt idx="40">2.3251332724679239</cx:pt>
          <cx:pt idx="41">2.3788762023562775</cx:pt>
          <cx:pt idx="42">2.3736311727939645</cx:pt>
          <cx:pt idx="43">2.3671505570053601</cx:pt>
          <cx:pt idx="44">2.4399356665804639</cx:pt>
          <cx:pt idx="45">2.4367460052148457</cx:pt>
          <cx:pt idx="46">2.4442540123857617</cx:pt>
          <cx:pt idx="47">2.426008691849983</cx:pt>
          <cx:pt idx="48">2.3917245281984503</cx:pt>
          <cx:pt idx="49">2.3170417528975946</cx:pt>
          <cx:pt idx="50">2.3027432552501605</cx:pt>
          <cx:pt idx="51">2.2668113032196042</cx:pt>
          <cx:pt idx="52">2.1994373305974091</cx:pt>
          <cx:pt idx="53">2.1942161596410048</cx:pt>
          <cx:pt idx="54">2.2428186491015025</cx:pt>
          <cx:pt idx="55">2.2014074975410991</cx:pt>
          <cx:pt idx="56">2.1613841091341524</cx:pt>
          <cx:pt idx="57">2.1812074739946978</cx:pt>
          <cx:pt idx="58">2.1829237993736426</cx:pt>
          <cx:pt idx="59">2.1733825193876588</cx:pt>
          <cx:pt idx="60">2.1386839170814782</cx:pt>
          <cx:pt idx="61">2.1241179370682222</cx:pt>
          <cx:pt idx="62">2.0657392793152178</cx:pt>
          <cx:pt idx="63">2.0989747955592852</cx:pt>
          <cx:pt idx="64">2.1238237239756135</cx:pt>
          <cx:pt idx="65">2.058703739233172</cx:pt>
          <cx:pt idx="66">2.0984658379848296</cx:pt>
          <cx:pt idx="67">2.1597395434596733</cx:pt>
          <cx:pt idx="68">2.1553571357970456</cx:pt>
          <cx:pt idx="69">2.1452562162915934</cx:pt>
          <cx:pt idx="70">2.1068311283439645</cx:pt>
          <cx:pt idx="71">2.168545323657983</cx:pt>
          <cx:pt idx="72">2.1517440160239727</cx:pt>
          <cx:pt idx="73">2.1697543639366792</cx:pt>
          <cx:pt idx="74">2.1853599470762011</cx:pt>
          <cx:pt idx="75">2.190596871601453</cx:pt>
          <cx:pt idx="76">2.2546599157398046</cx:pt>
          <cx:pt idx="77">2.2264940486534504</cx:pt>
          <cx:pt idx="78">2.2025784878236565</cx:pt>
          <cx:pt idx="79">2.1774602943184358</cx:pt>
          <cx:pt idx="80">2.2242715631173469</cx:pt>
          <cx:pt idx="81">2.2376019586934444</cx:pt>
          <cx:pt idx="82">2.3103779481328788</cx:pt>
          <cx:pt idx="83">2.3529056363984138</cx:pt>
          <cx:pt idx="84">2.337928927063361</cx:pt>
          <cx:pt idx="85">2.2538844299451712</cx:pt>
          <cx:pt idx="86">2.2621861509307131</cx:pt>
          <cx:pt idx="87">2.2734175295886034</cx:pt>
          <cx:pt idx="88">2.2630849218594276</cx:pt>
          <cx:pt idx="89">2.2298739971551034</cx:pt>
          <cx:pt idx="90">2.2552187371682799</cx:pt>
          <cx:pt idx="91">2.288595241053978</cx:pt>
          <cx:pt idx="92">2.2492567173803661</cx:pt>
          <cx:pt idx="93">2.2973333870753692</cx:pt>
          <cx:pt idx="94">2.2684974911434801</cx:pt>
          <cx:pt idx="95">2.2618335202982625</cx:pt>
          <cx:pt idx="96">2.2488238184892246</cx:pt>
          <cx:pt idx="97">2.1630464871910586</cx:pt>
          <cx:pt idx="98">2.1876356135998378</cx:pt>
          <cx:pt idx="99">2.1945458027909575</cx:pt>
          <cx:pt idx="100">2.1786792343656534</cx:pt>
          <cx:pt idx="101">2.2008161158033728</cx:pt>
          <cx:pt idx="102">2.1433564968946701</cx:pt>
          <cx:pt idx="103">2.1345453879344078</cx:pt>
          <cx:pt idx="104">2.0484321544293578</cx:pt>
          <cx:pt idx="105">2.0456413078634337</cx:pt>
          <cx:pt idx="106">1.9610795779800363</cx:pt>
          <cx:pt idx="107">1.8950302860234811</cx:pt>
          <cx:pt idx="108">1.895724562392394</cx:pt>
          <cx:pt idx="109">1.8928467776982192</cx:pt>
          <cx:pt idx="110">1.9349067713942651</cx:pt>
          <cx:pt idx="111">1.9204484576534495</cx:pt>
          <cx:pt idx="112">1.981153179253403</cx:pt>
          <cx:pt idx="113">1.9223399127748049</cx:pt>
          <cx:pt idx="114">1.9177679270683108</cx:pt>
          <cx:pt idx="115">1.8509456562172797</cx:pt>
          <cx:pt idx="116">1.8868568882491636</cx:pt>
          <cx:pt idx="117">1.9183566977491868</cx:pt>
          <cx:pt idx="118">1.9239656977302988</cx:pt>
          <cx:pt idx="119">1.9658900574853149</cx:pt>
          <cx:pt idx="120">2.0701211514789204</cx:pt>
          <cx:pt idx="121">2.0826438706290697</cx:pt>
          <cx:pt idx="122">2.0922122676138608</cx:pt>
          <cx:pt idx="123">2.1113923803268131</cx:pt>
          <cx:pt idx="124">2.0667506568990337</cx:pt>
          <cx:pt idx="125">2.0427058755618535</cx:pt>
          <cx:pt idx="126">2.0141200661789318</cx:pt>
          <cx:pt idx="127">2.0317522147439062</cx:pt>
          <cx:pt idx="128">2.0392822263184067</cx:pt>
          <cx:pt idx="129">1.9961414836858822</cx:pt>
          <cx:pt idx="130">2.0497389256197791</cx:pt>
          <cx:pt idx="131">2.0881957829691902</cx:pt>
          <cx:pt idx="132">2.0463711642303068</cx:pt>
          <cx:pt idx="133">2.0689832591518651</cx:pt>
          <cx:pt idx="134">2.0568353747060417</cx:pt>
          <cx:pt idx="135">2.0701714619348079</cx:pt>
          <cx:pt idx="136">2.0675516318314311</cx:pt>
          <cx:pt idx="137">2.0784012818474973</cx:pt>
          <cx:pt idx="138">2.0840347703908377</cx:pt>
          <cx:pt idx="139">2.0876271578261547</cx:pt>
          <cx:pt idx="140">2.1086224915504412</cx:pt>
          <cx:pt idx="141">2.0322623131141779</cx:pt>
          <cx:pt idx="142">1.9967662473478429</cx:pt>
          <cx:pt idx="143">1.8772803840799694</cx:pt>
          <cx:pt idx="144">1.9814660650179559</cx:pt>
          <cx:pt idx="145">1.9720187834524221</cx:pt>
          <cx:pt idx="146">1.9626413973970156</cx:pt>
          <cx:pt idx="147">2.0845429883702242</cx:pt>
          <cx:pt idx="148">2.0825274652172028</cx:pt>
          <cx:pt idx="149">2.1424745279687132</cx:pt>
          <cx:pt idx="150">2.1400501874818048</cx:pt>
          <cx:pt idx="151">2.0587534654090738</cx:pt>
          <cx:pt idx="152">2.0251138073303907</cx:pt>
          <cx:pt idx="153">2.0060071519960787</cx:pt>
          <cx:pt idx="154">2.0467807148705113</cx:pt>
          <cx:pt idx="155">2.0704846299076287</cx:pt>
          <cx:pt idx="156">2.1370346900569279</cx:pt>
          <cx:pt idx="157">2.1688614958992209</cx:pt>
          <cx:pt idx="158">2.1745388505737036</cx:pt>
          <cx:pt idx="159">2.2024818167299034</cx:pt>
          <cx:pt idx="160">2.2404287969824375</cx:pt>
          <cx:pt idx="161">2.1943326338117584</cx:pt>
          <cx:pt idx="162">2.1368981257722388</cx:pt>
          <cx:pt idx="163">2.1285411162087273</cx:pt>
          <cx:pt idx="164">2.135358720411173</cx:pt>
          <cx:pt idx="165">2.1840531075364407</cx:pt>
          <cx:pt idx="166">2.2347608876581533</cx:pt>
          <cx:pt idx="167">2.2905118431669149</cx:pt>
          <cx:pt idx="168">2.2475277846572563</cx:pt>
          <cx:pt idx="169">2.2234001084599746</cx:pt>
          <cx:pt idx="170">2.295761900776391</cx:pt>
          <cx:pt idx="171">2.3390080162230236</cx:pt>
          <cx:pt idx="172">2.3319315843834447</cx:pt>
          <cx:pt idx="173">2.2782181958823444</cx:pt>
          <cx:pt idx="174">2.2792959230679637</cx:pt>
          <cx:pt idx="175">2.2501246349160695</cx:pt>
          <cx:pt idx="176">2.2583591180280922</cx:pt>
          <cx:pt idx="177">2.3114222265738649</cx:pt>
          <cx:pt idx="178">2.2907255275649048</cx:pt>
          <cx:pt idx="179">2.2602364083654778</cx:pt>
          <cx:pt idx="180">2.3099645055849041</cx:pt>
          <cx:pt idx="181">2.2491615784372661</cx:pt>
          <cx:pt idx="182">2.2643232301836074</cx:pt>
          <cx:pt idx="183">2.3121685757349488</cx:pt>
          <cx:pt idx="184">2.2996965633105209</cx:pt>
          <cx:pt idx="185">2.2978573895262051</cx:pt>
          <cx:pt idx="186">2.2455433117514261</cx:pt>
          <cx:pt idx="187">2.1982646670571895</cx:pt>
          <cx:pt idx="188">2.2803023710472106</cx:pt>
          <cx:pt idx="189">2.4410918360792464</cx:pt>
          <cx:pt idx="190">2.4328623387555823</cx:pt>
          <cx:pt idx="191">2.3582615783097474</cx:pt>
          <cx:pt idx="192">2.3739585124698959</cx:pt>
          <cx:pt idx="193">2.3987057738489166</cx:pt>
          <cx:pt idx="194">2.523395409660377</cx:pt>
          <cx:pt idx="195">2.5543607632312706</cx:pt>
          <cx:pt idx="196">2.4778282444569673</cx:pt>
          <cx:pt idx="197">2.4577736275180713</cx:pt>
          <cx:pt idx="198">2.5467604526114864</cx:pt>
          <cx:pt idx="199">2.5327392232492025</cx:pt>
          <cx:pt idx="200">2.5701912138355762</cx:pt>
          <cx:pt idx="201">2.4966470005680921</cx:pt>
          <cx:pt idx="202">2.4686361418006246</cx:pt>
          <cx:pt idx="203">2.4641718477468109</cx:pt>
          <cx:pt idx="204">2.4675340785977271</cx:pt>
          <cx:pt idx="205">2.3296287255937029</cx:pt>
          <cx:pt idx="206">2.3295847813956274</cx:pt>
          <cx:pt idx="207">2.3334316415542249</cx:pt>
          <cx:pt idx="208">2.1627680885093299</cx:pt>
          <cx:pt idx="209">2.0920301300104596</cx:pt>
          <cx:pt idx="210">1.9881450838491324</cx:pt>
          <cx:pt idx="211">1.9792241805522179</cx:pt>
          <cx:pt idx="212">1.9336834304892336</cx:pt>
          <cx:pt idx="213">1.7591200954383579</cx:pt>
          <cx:pt idx="214">1.5076206195400923</cx:pt>
          <cx:pt idx="215">1.5913151834731065</cx:pt>
          <cx:pt idx="216">1.6096633451127789</cx:pt>
          <cx:pt idx="217">1.6354875465120644</cx:pt>
          <cx:pt idx="218">1.5928686716650411</cx:pt>
          <cx:pt idx="219">1.5853528445414118</cx:pt>
          <cx:pt idx="220">1.5922669250856096</cx:pt>
          <cx:pt idx="221">1.5958258891160013</cx:pt>
          <cx:pt idx="222">1.545839064349092</cx:pt>
          <cx:pt idx="223">1.5333412925428711</cx:pt>
          <cx:pt idx="224">1.561470231178905</cx:pt>
          <cx:pt idx="225">1.5675311242991292</cx:pt>
          <cx:pt idx="226">1.5676882643779002</cx:pt>
          <cx:pt idx="227">1.6158837900660767</cx:pt>
          <cx:pt idx="228">1.9083448712211877</cx:pt>
          <cx:pt idx="229">1.9218957065166384</cx:pt>
          <cx:pt idx="230">2.0246452733926441</cx:pt>
          <cx:pt idx="231">2.0716604755846695</cx:pt>
          <cx:pt idx="232">2.1799067873893616</cx:pt>
          <cx:pt idx="233">2.1684536922937729</cx:pt>
          <cx:pt idx="234">2.2457147398925716</cx:pt>
          <cx:pt idx="235">2.4103500278448231</cx:pt>
          <cx:pt idx="236">2.4287344989374575</cx:pt>
          <cx:pt idx="237">2.5756415591145339</cx:pt>
          <cx:pt idx="238">2.6704648592800142</cx:pt>
          <cx:pt idx="239">2.7576058348611614</cx:pt>
          <cx:pt idx="240">2.7700736624896725</cx:pt>
          <cx:pt idx="241">2.8234151893683705</cx:pt>
          <cx:pt idx="242">2.820618377210697</cx:pt>
          <cx:pt idx="243">2.8175785940350244</cx:pt>
          <cx:pt idx="244">2.7987458312658697</cx:pt>
          <cx:pt idx="245">2.7571928020854255</cx:pt>
          <cx:pt idx="246">2.6761786720479019</cx:pt>
          <cx:pt idx="247">2.6132122653073613</cx:pt>
          <cx:pt idx="248">2.5009906506075499</cx:pt>
          <cx:pt idx="249">2.4552016790506115</cx:pt>
          <cx:pt idx="250">2.4701589502482815</cx:pt>
          <cx:pt idx="251">2.2723953618830004</cx:pt>
          <cx:pt idx="252">2.1805253582562982</cx:pt>
          <cx:pt idx="253">2.2252827705414764</cx:pt>
          <cx:pt idx="254">2.1699090095551274</cx:pt>
          <cx:pt idx="255">2.1816953370434757</cx:pt>
          <cx:pt idx="256">2.1682782869325665</cx:pt>
          <cx:pt idx="257">2.0814428070189597</cx:pt>
          <cx:pt idx="258">2.09001485404035</cx:pt>
          <cx:pt idx="259">2.05895408451818</cx:pt>
          <cx:pt idx="260">2.0699193822466295</cx:pt>
          <cx:pt idx="261">2.0762229787001458</cx:pt>
          <cx:pt idx="262">2.1893732017269385</cx:pt>
          <cx:pt idx="263">2.2713389307901766</cx:pt>
          <cx:pt idx="264">2.2420983620965242</cx:pt>
          <cx:pt idx="265">2.240398175881352</cx:pt>
          <cx:pt idx="266">2.288603162274546</cx:pt>
          <cx:pt idx="267">2.2885846793839066</cx:pt>
          <cx:pt idx="268">2.283806737889893</cx:pt>
          <cx:pt idx="269">2.3414021536556917</cx:pt>
          <cx:pt idx="270">2.4089694356951079</cx:pt>
          <cx:pt idx="271">2.3855519077477183</cx:pt>
          <cx:pt idx="272">2.3865988898610357</cx:pt>
          <cx:pt idx="273">2.39509570302353</cx:pt>
          <cx:pt idx="274">2.4841602174853823</cx:pt>
          <cx:pt idx="275">2.4835806316550855</cx:pt>
          <cx:pt idx="276">2.4835806316550864</cx:pt>
          <cx:pt idx="277">2.4262327118300377</cx:pt>
          <cx:pt idx="278">2.4559117156216272</cx:pt>
          <cx:pt idx="279">2.4636819205622178</cx:pt>
          <cx:pt idx="280">2.4877789267275716</cx:pt>
          <cx:pt idx="281">2.4156695436617319</cx:pt>
          <cx:pt idx="282">2.4348877220811547</cx:pt>
          <cx:pt idx="283">2.4059816154723475</cx:pt>
          <cx:pt idx="284">2.3771035248151495</cx:pt>
          <cx:pt idx="285">2.4005664487491338</cx:pt>
          <cx:pt idx="286">2.3669403180870301</cx:pt>
          <cx:pt idx="287">2.4443068018520129</cx:pt>
          <cx:pt idx="288">2.4487144090677164</cx:pt>
          <cx:pt idx="289">2.4693017213064259</cx:pt>
          <cx:pt idx="290">2.4693880909581827</cx:pt>
          <cx:pt idx="291">2.495495631103998</cx:pt>
          <cx:pt idx="292">2.5116792859933876</cx:pt>
          <cx:pt idx="293">2.4724915073618972</cx:pt>
          <cx:pt idx="294">2.4436475061422618</cx:pt>
          <cx:pt idx="295">2.4149941874183392</cx:pt>
          <cx:pt idx="296">2.4567524924234214</cx:pt>
          <cx:pt idx="297">2.3964518041146969</cx:pt>
          <cx:pt idx="298">2.4022308125087073</cx:pt>
          <cx:pt idx="299">2.3458396101196448</cx:pt>
          <cx:pt idx="300">2.3557742767302878</cx:pt>
          <cx:pt idx="301">2.3050916329376623</cx:pt>
          <cx:pt idx="302">2.253057876469533</cx:pt>
          <cx:pt idx="303">2.2939550574030916</cx:pt>
          <cx:pt idx="304">2.2690706067217148</cx:pt>
          <cx:pt idx="305">2.2112979091659817</cx:pt>
          <cx:pt idx="306">2.2124010053509142</cx:pt>
          <cx:pt idx="307">2.1401463567961776</cx:pt>
          <cx:pt idx="308">2.195119927789476</cx:pt>
          <cx:pt idx="309">2.118442543286561</cx:pt>
          <cx:pt idx="310">2.1654616613734268</cx:pt>
          <cx:pt idx="311">2.1482734103680743</cx:pt>
          <cx:pt idx="312">2.1782644567916152</cx:pt>
          <cx:pt idx="313">2.2151521703954424</cx:pt>
          <cx:pt idx="314">2.2243615343093452</cx:pt>
          <cx:pt idx="315">2.1843356281302557</cx:pt>
          <cx:pt idx="316">2.1399111578798284</cx:pt>
          <cx:pt idx="317">2.1133855893445204</cx:pt>
          <cx:pt idx="318">1.996784049090133</cx:pt>
          <cx:pt idx="319">1.9804926199070876</cx:pt>
          <cx:pt idx="320">1.8913511777366967</cx:pt>
          <cx:pt idx="321">1.896504241785282</cx:pt>
          <cx:pt idx="322">1.8651638591426905</cx:pt>
          <cx:pt idx="323">1.8537245418278914</cx:pt>
          <cx:pt idx="324">1.8794214553060968</cx:pt>
          <cx:pt idx="325">1.8630743257594433</cx:pt>
          <cx:pt idx="326">1.8730322711898235</cx:pt>
          <cx:pt idx="327">1.7698217661108913</cx:pt>
          <cx:pt idx="328">1.8518946804293348</cx:pt>
          <cx:pt idx="329">1.9016663335195232</cx:pt>
          <cx:pt idx="330">1.9748729946216297</cx:pt>
          <cx:pt idx="331">1.899204864326119</cx:pt>
          <cx:pt idx="332">1.9596365983565447</cx:pt>
          <cx:pt idx="333">2.0432135872407944</cx:pt>
          <cx:pt idx="334">1.9825674101896176</cx:pt>
          <cx:pt idx="335">2.0017319435967984</cx:pt>
          <cx:pt idx="336">2.0689976906848782</cx:pt>
          <cx:pt idx="337">2.1233049862640678</cx:pt>
          <cx:pt idx="338">2.1138125931640497</cx:pt>
          <cx:pt idx="339">2.0214572770142625</cx:pt>
          <cx:pt idx="340">2.0078424397283685</cx:pt>
          <cx:pt idx="341">1.9168726567024954</cx:pt>
          <cx:pt idx="342">1.9306088906625372</cx:pt>
          <cx:pt idx="343">1.9169245786004867</cx:pt>
          <cx:pt idx="344">1.8457961632873463</cx:pt>
          <cx:pt idx="345">1.8292216157539398</cx:pt>
          <cx:pt idx="346">1.8176349128584202</cx:pt>
          <cx:pt idx="347">1.873316157921677</cx:pt>
          <cx:pt idx="348">1.8594096025420999</cx:pt>
          <cx:pt idx="349">1.9008287444107292</cx:pt>
          <cx:pt idx="350">1.9591438780083013</cx:pt>
          <cx:pt idx="351">1.9510758265202768</cx:pt>
          <cx:pt idx="352">1.92254811068335</cx:pt>
          <cx:pt idx="353">1.9234871248009073</cx:pt>
          <cx:pt idx="354">1.9442473483871998</cx:pt>
          <cx:pt idx="355">1.9547170808278518</cx:pt>
          <cx:pt idx="356">2.0053702007044185</cx:pt>
          <cx:pt idx="357">2.0081681598893351</cx:pt>
          <cx:pt idx="358">2.0300544631255635</cx:pt>
          <cx:pt idx="359">2.0003756867445484</cx:pt>
          <cx:pt idx="360">1.9957671371759116</cx:pt>
          <cx:pt idx="361">1.9957671371759118</cx:pt>
          <cx:pt idx="362">1.9962882112145213</cx:pt>
          <cx:pt idx="363">1.932970055071811</cx:pt>
          <cx:pt idx="364">1.8870288784467675</cx:pt>
          <cx:pt idx="365">1.8611631301219309</cx:pt>
          <cx:pt idx="366">1.7977143184162883</cx:pt>
          <cx:pt idx="367">1.7743640838037802</cx:pt>
          <cx:pt idx="368">1.7357835289157775</cx:pt>
          <cx:pt idx="369">1.852556770166031</cx:pt>
          <cx:pt idx="370">1.8707246645247428</cx:pt>
          <cx:pt idx="371">1.9810760266600296</cx:pt>
          <cx:pt idx="372">2.029536278671245</cx:pt>
          <cx:pt idx="373">2.0162720262096241</cx:pt>
          <cx:pt idx="374">2.0147323739645397</cx:pt>
          <cx:pt idx="375">2.0926970977201553</cx:pt>
          <cx:pt idx="376">2.0921371717544646</cx:pt>
          <cx:pt idx="377">2.1163560110446338</cx:pt>
          <cx:pt idx="378">2.0920720978231127</cx:pt>
          <cx:pt idx="379">2.0741453878695277</cx:pt>
          <cx:pt idx="380">2.0352133324177775</cx:pt>
          <cx:pt idx="381">1.9821332939328027</cx:pt>
          <cx:pt idx="382">1.9810275804726782</cx:pt>
          <cx:pt idx="383">2.0375342257594156</cx:pt>
          <cx:pt idx="384">2.0289906322776421</cx:pt>
          <cx:pt idx="385">2.1124199297618809</cx:pt>
          <cx:pt idx="386">2.062952720484112</cx:pt>
          <cx:pt idx="387">2.0367038188136384</cx:pt>
          <cx:pt idx="388">2.0333586961748877</cx:pt>
          <cx:pt idx="389">1.9950854039685173</cx:pt>
          <cx:pt idx="390">2.0706336427706193</cx:pt>
          <cx:pt idx="391">2.1226782811814515</cx:pt>
          <cx:pt idx="392">2.1502688004011237</cx:pt>
          <cx:pt idx="393">2.129082285886672</cx:pt>
          <cx:pt idx="394">2.1918694836346653</cx:pt>
          <cx:pt idx="395">2.1884629997450249</cx:pt>
          <cx:pt idx="396">2.1894405789780751</cx:pt>
          <cx:pt idx="397">2.184995405746109</cx:pt>
          <cx:pt idx="398">2.199571951280892</cx:pt>
          <cx:pt idx="399">2.2742526259553668</cx:pt>
          <cx:pt idx="400">2.210159201684792</cx:pt>
          <cx:pt idx="401">2.236348059614031</cx:pt>
          <cx:pt idx="402">2.2045680985625453</cx:pt>
          <cx:pt idx="403">2.1894652563922365</cx:pt>
          <cx:pt idx="404">2.1819693658926842</cx:pt>
          <cx:pt idx="405">2.1805499735502716</cx:pt>
          <cx:pt idx="406">2.1155592321318517</cx:pt>
          <cx:pt idx="407">2.1703140829606289</cx:pt>
          <cx:pt idx="408">2.1539811016655959</cx:pt>
          <cx:pt idx="409">2.1564852208984497</cx:pt>
          <cx:pt idx="410">2.2064338034154853</cx:pt>
          <cx:pt idx="411">2.1966483602260873</cx:pt>
          <cx:pt idx="412">2.2233591806965487</cx:pt>
          <cx:pt idx="413">2.2239690222735446</cx:pt>
          <cx:pt idx="414">2.2271837913897379</cx:pt>
          <cx:pt idx="415">2.2966518658569277</cx:pt>
          <cx:pt idx="416">2.2043051032425018</cx:pt>
          <cx:pt idx="417">2.2210405756718576</cx:pt>
          <cx:pt idx="418">2.1905973584012841</cx:pt>
          <cx:pt idx="419">2.1763690506747109</cx:pt>
          <cx:pt idx="420">2.1602860611482217</cx:pt>
          <cx:pt idx="421">2.1331186020074382</cx:pt>
          <cx:pt idx="422">2.1003682504559364</cx:pt>
          <cx:pt idx="423">2.0636373540719615</cx:pt>
          <cx:pt idx="424">2.0706693493293904</cx:pt>
          <cx:pt idx="425">1.9720773645542111</cx:pt>
          <cx:pt idx="426">2.0595195801674353</cx:pt>
          <cx:pt idx="427">2.076003995334073</cx:pt>
          <cx:pt idx="428">2.1410475472680006</cx:pt>
          <cx:pt idx="429">2.1703774660943522</cx:pt>
          <cx:pt idx="430">2.112091437609811</cx:pt>
          <cx:pt idx="431">2.1124683914928615</cx:pt>
          <cx:pt idx="432">2.1119389541169631</cx:pt>
          <cx:pt idx="433">2.0722315951359933</cx:pt>
          <cx:pt idx="434">2.1088087585566635</cx:pt>
          <cx:pt idx="435">2.1233766361881203</cx:pt>
          <cx:pt idx="436">2.2135637712630172</cx:pt>
          <cx:pt idx="437">2.2619422696534515</cx:pt>
          <cx:pt idx="438">2.2440160264078086</cx:pt>
          <cx:pt idx="439">2.2424002006584196</cx:pt>
          <cx:pt idx="440">2.2577780879895819</cx:pt>
          <cx:pt idx="441">2.2808569359375723</cx:pt>
          <cx:pt idx="442">2.2998143415305616</cx:pt>
          <cx:pt idx="443">2.2675569733108212</cx:pt>
          <cx:pt idx="444">2.2758947233926694</cx:pt>
          <cx:pt idx="445">2.2284701232057045</cx:pt>
          <cx:pt idx="446">2.181018589227222</cx:pt>
          <cx:pt idx="447">2.1901059600475214</cx:pt>
          <cx:pt idx="448">2.1684372998704164</cx:pt>
          <cx:pt idx="449">2.1677624801724575</cx:pt>
          <cx:pt idx="450">2.1823003703081816</cx:pt>
          <cx:pt idx="451">2.1700054936637572</cx:pt>
          <cx:pt idx="452">2.1308122377810568</cx:pt>
          <cx:pt idx="453">2.0443557383161779</cx:pt>
          <cx:pt idx="454">2.0255060706559953</cx:pt>
          <cx:pt idx="455">1.9850959827187358</cx:pt>
          <cx:pt idx="456">1.9570714995951692</cx:pt>
          <cx:pt idx="457">1.9372606791419729</cx:pt>
          <cx:pt idx="458">1.8697633351181577</cx:pt>
          <cx:pt idx="459">1.8490590265717746</cx:pt>
          <cx:pt idx="460">1.8890768625224212</cx:pt>
          <cx:pt idx="461">1.919230532444131</cx:pt>
          <cx:pt idx="462">1.9516700302226517</cx:pt>
          <cx:pt idx="463">1.9719715568049601</cx:pt>
          <cx:pt idx="464">1.9500870289807466</cx:pt>
          <cx:pt idx="465">1.8373277377842212</cx:pt>
          <cx:pt idx="466">1.8449176033901025</cx:pt>
          <cx:pt idx="467">1.7689263711448246</cx:pt>
          <cx:pt idx="468">1.7360216764191263</cx:pt>
          <cx:pt idx="469">1.6985063563410312</cx:pt>
          <cx:pt idx="470">1.688264362930104</cx:pt>
          <cx:pt idx="471">1.6476560506399225</cx:pt>
          <cx:pt idx="472">1.6342669308638675</cx:pt>
          <cx:pt idx="473">1.6360295086265872</cx:pt>
          <cx:pt idx="474">1.7180894946413316</cx:pt>
          <cx:pt idx="475">1.8084148223111822</cx:pt>
          <cx:pt idx="476">1.8090118709309537</cx:pt>
          <cx:pt idx="477">1.8581120707403274</cx:pt>
          <cx:pt idx="478">1.8556751968833582</cx:pt>
          <cx:pt idx="479">1.9071043054735943</cx:pt>
          <cx:pt idx="480">1.9637636177585278</cx:pt>
          <cx:pt idx="481">2.0710289555826629</cx:pt>
          <cx:pt idx="482">2.1370484957047342</cx:pt>
          <cx:pt idx="483">2.1475732203332298</cx:pt>
          <cx:pt idx="484">2.1529679398376782</cx:pt>
          <cx:pt idx="485">2.137347208121648</cx:pt>
          <cx:pt idx="486">2.1292756109086772</cx:pt>
          <cx:pt idx="487">2.1496099394246695</cx:pt>
          <cx:pt idx="488">2.1884953220507177</cx:pt>
          <cx:pt idx="489">2.1400747700320299</cx:pt>
          <cx:pt idx="490">2.1883512485976646</cx:pt>
          <cx:pt idx="491">2.1698334901374907</cx:pt>
          <cx:pt idx="492">2.1087949365928544</cx:pt>
          <cx:pt idx="493">2.069363255950857</cx:pt>
          <cx:pt idx="494">2.0523044205574497</cx:pt>
          <cx:pt idx="495">2.1219396601796121</cx:pt>
          <cx:pt idx="496">2.1201947567267521</cx:pt>
          <cx:pt idx="497">2.1001605859561114</cx:pt>
          <cx:pt idx="498">2.1130049299095566</cx:pt>
          <cx:pt idx="499">2.0933416085341725</cx:pt>
          <cx:pt idx="500">2.0359345309656658</cx:pt>
          <cx:pt idx="501">2.0983506490926596</cx:pt>
          <cx:pt idx="502">2.0826402863952911</cx:pt>
          <cx:pt idx="503">2.0698230412334264</cx:pt>
          <cx:pt idx="504">2.0256741853249678</cx:pt>
          <cx:pt idx="505">1.9073954208262529</cx:pt>
          <cx:pt idx="506">1.8960676683234319</cx:pt>
          <cx:pt idx="507">1.908822771282713</cx:pt>
          <cx:pt idx="508">2.016943954738351</cx:pt>
          <cx:pt idx="509">2.1289495525865449</cx:pt>
          <cx:pt idx="510">2.0315471596990355</cx:pt>
          <cx:pt idx="511">2.0233282685966802</cx:pt>
          <cx:pt idx="512">2.1077816410131591</cx:pt>
          <cx:pt idx="513">2.132312583487991</cx:pt>
          <cx:pt idx="514">2.1746284274914545</cx:pt>
          <cx:pt idx="515">2.2645232179823074</cx:pt>
          <cx:pt idx="516">2.2654469512479225</cx:pt>
          <cx:pt idx="517">2.2983139957287739</cx:pt>
          <cx:pt idx="518">2.2983139957287739</cx:pt>
          <cx:pt idx="519">2.2550965807006058</cx:pt>
          <cx:pt idx="520">2.2777277540729521</cx:pt>
          <cx:pt idx="521">2.2511449144275741</cx:pt>
          <cx:pt idx="522">2.2424735932853794</cx:pt>
          <cx:pt idx="523">2.2446457517359959</cx:pt>
          <cx:pt idx="524">2.2366412975633905</cx:pt>
          <cx:pt idx="525">2.2901946162010813</cx:pt>
          <cx:pt idx="526">2.257440829940899</cx:pt>
          <cx:pt idx="527">2.3168535093852913</cx:pt>
          <cx:pt idx="528">2.322669261814482</cx:pt>
          <cx:pt idx="529">2.2897769083982196</cx:pt>
          <cx:pt idx="530">2.3625798074696029</cx:pt>
          <cx:pt idx="531">2.3681208679863306</cx:pt>
          <cx:pt idx="532">2.3622933247304636</cx:pt>
          <cx:pt idx="533">2.4710292600127115</cx:pt>
          <cx:pt idx="534">2.5148932018243317</cx:pt>
          <cx:pt idx="535">2.5021571072342463</cx:pt>
          <cx:pt idx="536">2.4406632520902938</cx:pt>
          <cx:pt idx="537">2.4452744067641405</cx:pt>
          <cx:pt idx="538">2.4097858788430768</cx:pt>
          <cx:pt idx="539">2.4083381032984472</cx:pt>
          <cx:pt idx="540">2.3479008513001074</cx:pt>
          <cx:pt idx="541">2.3307401771526912</cx:pt>
          <cx:pt idx="542">2.3691820047318792</cx:pt>
          <cx:pt idx="543">2.300396652284634</cx:pt>
          <cx:pt idx="544">2.3358951038509406</cx:pt>
          <cx:pt idx="545">2.3708021313332792</cx:pt>
          <cx:pt idx="546">2.3214590140998754</cx:pt>
          <cx:pt idx="547">2.3254357975332938</cx:pt>
          <cx:pt idx="548">2.3190147048050238</cx:pt>
          <cx:pt idx="549">2.2694247755482873</cx:pt>
          <cx:pt idx="550">2.2714030942021721</cx:pt>
          <cx:pt idx="551">2.273452865600472</cx:pt>
          <cx:pt idx="552">2.2389316808550639</cx:pt>
          <cx:pt idx="553">2.2489215006556504</cx:pt>
          <cx:pt idx="554">2.2528253142183905</cx:pt>
          <cx:pt idx="555">2.2822751545159159</cx:pt>
          <cx:pt idx="556">2.1980605913983897</cx:pt>
          <cx:pt idx="557">2.1796572876858886</cx:pt>
          <cx:pt idx="558">2.0714350038576201</cx:pt>
          <cx:pt idx="559">2.0451463654012598</cx:pt>
          <cx:pt idx="560">2.0726413523376137</cx:pt>
          <cx:pt idx="561">2.033921696025867</cx:pt>
          <cx:pt idx="562">1.9175618053528978</cx:pt>
          <cx:pt idx="563">1.7994234687943773</cx:pt>
          <cx:pt idx="564">1.7284432932258589</cx:pt>
          <cx:pt idx="565">1.7261796201569108</cx:pt>
          <cx:pt idx="566">1.8265078180949288</cx:pt>
          <cx:pt idx="567">1.9214828466233034</cx:pt>
          <cx:pt idx="568">2.0060590703835968</cx:pt>
          <cx:pt idx="569">2.0602660866112963</cx:pt>
          <cx:pt idx="570">1.9960504858316581</cx:pt>
          <cx:pt idx="571">2.0546954503676842</cx:pt>
          <cx:pt idx="572">2.0457796200902756</cx:pt>
          <cx:pt idx="573">2.1330957723412856</cx:pt>
          <cx:pt idx="574">2.1665475703652666</cx:pt>
          <cx:pt idx="575">2.1865523743737101</cx:pt>
          <cx:pt idx="576">2.16562088112491</cx:pt>
          <cx:pt idx="577">2.1680484352512286</cx:pt>
          <cx:pt idx="578">2.1576715301598974</cx:pt>
          <cx:pt idx="579">2.1793374623123114</cx:pt>
          <cx:pt idx="580">2.2024322691323603</cx:pt>
          <cx:pt idx="581">2.2893842774159148</cx:pt>
          <cx:pt idx="582">2.1975863900030634</cx:pt>
          <cx:pt idx="583">2.1957280611798895</cx:pt>
          <cx:pt idx="584">2.1213046760983549</cx:pt>
          <cx:pt idx="585">2.1388517779243896</cx:pt>
          <cx:pt idx="586">2.0058478445291184</cx:pt>
          <cx:pt idx="587">1.9856438453292888</cx:pt>
          <cx:pt idx="588">1.9547208996253971</cx:pt>
          <cx:pt idx="589">1.9742578671518154</cx:pt>
          <cx:pt idx="590">1.8521100294964692</cx:pt>
          <cx:pt idx="591">1.8674933742078943</cx:pt>
          <cx:pt idx="592">1.9593579617173589</cx:pt>
          <cx:pt idx="593">1.920482144208151</cx:pt>
          <cx:pt idx="594">1.8926920310764059</cx:pt>
          <cx:pt idx="595">1.8313173602064861</cx:pt>
          <cx:pt idx="596">1.8350916493229243</cx:pt>
          <cx:pt idx="597">1.8367528598479439</cx:pt>
          <cx:pt idx="598">1.8562957259262018</cx:pt>
          <cx:pt idx="599">1.8532063476568026</cx:pt>
          <cx:pt idx="600">1.8850940739507356</cx:pt>
          <cx:pt idx="601">1.8714049750033874</cx:pt>
          <cx:pt idx="602">1.6342995562457356</cx:pt>
          <cx:pt idx="603">1.5107720087958652</cx:pt>
          <cx:pt idx="604">1.4957259526656772</cx:pt>
          <cx:pt idx="605">1.5053833314128626</cx:pt>
          <cx:pt idx="606">1.5440405238372967</cx:pt>
          <cx:pt idx="607">1.5364477930758895</cx:pt>
          <cx:pt idx="608">1.5846199387010287</cx:pt>
          <cx:pt idx="609">1.575812240573726</cx:pt>
          <cx:pt idx="610">1.6311734785934042</cx:pt>
          <cx:pt idx="611">1.6509375979900396</cx:pt>
          <cx:pt idx="612">1.6562958955108777</cx:pt>
          <cx:pt idx="613">1.6309250340588881</cx:pt>
          <cx:pt idx="614">1.6475358806159579</cx:pt>
          <cx:pt idx="615">1.6163964801649031</cx:pt>
          <cx:pt idx="616">1.6840831753430068</cx:pt>
          <cx:pt idx="617">1.9687103627281386</cx:pt>
          <cx:pt idx="618">1.947509169833787</cx:pt>
          <cx:pt idx="619">1.9196840582496209</cx:pt>
          <cx:pt idx="620">2.0508949480596357</cx:pt>
          <cx:pt idx="621">2.0825825964505786</cx:pt>
          <cx:pt idx="622">2.3042410255852239</cx:pt>
          <cx:pt idx="623">2.2278610350762733</cx:pt>
          <cx:pt idx="624">2.2297335538845795</cx:pt>
          <cx:pt idx="625">2.2511016488051694</cx:pt>
          <cx:pt idx="626">2.3462953625608725</cx:pt>
          <cx:pt idx="627">2.3513003902696368</cx:pt>
          <cx:pt idx="628">2.3396709705853596</cx:pt>
          <cx:pt idx="629">2.3256858592844631</cx:pt>
          <cx:pt idx="630">2.3392479657049297</cx:pt>
          <cx:pt idx="631">2.3606667562345462</cx:pt>
          <cx:pt idx="632">2.3603979620090025</cx:pt>
          <cx:pt idx="633">2.3602124234332771</cx:pt>
          <cx:pt idx="634">2.4736147852383117</cx:pt>
          <cx:pt idx="635">2.4120546516209931</cx:pt>
          <cx:pt idx="636">2.4222492783966989</cx:pt>
          <cx:pt idx="637">2.5170611648292023</cx:pt>
          <cx:pt idx="638">2.5032506015495146</cx:pt>
          <cx:pt idx="639">2.471685134887748</cx:pt>
          <cx:pt idx="640">2.5053267697861474</cx:pt>
          <cx:pt idx="641">2.5408819423685656</cx:pt>
          <cx:pt idx="642">2.4751803426428762</cx:pt>
          <cx:pt idx="643">2.3877582574738097</cx:pt>
          <cx:pt idx="644">2.3484801690111983</cx:pt>
          <cx:pt idx="645">2.368951689459641</cx:pt>
          <cx:pt idx="646">2.3925984093273986</cx:pt>
          <cx:pt idx="647">2.4196992130272967</cx:pt>
          <cx:pt idx="648">2.359090899673594</cx:pt>
          <cx:pt idx="649">2.3637061422890517</cx:pt>
          <cx:pt idx="650">2.3887326973532623</cx:pt>
          <cx:pt idx="651">2.4076409070713494</cx:pt>
          <cx:pt idx="652">2.4168496760669393</cx:pt>
          <cx:pt idx="653">2.3337489315172002</cx:pt>
          <cx:pt idx="654">2.3481068910381531</cx:pt>
          <cx:pt idx="655">2.3490631268614863</cx:pt>
          <cx:pt idx="656">2.4267143799696482</cx:pt>
          <cx:pt idx="657">2.3600396727028827</cx:pt>
          <cx:pt idx="658">2.3279022242487932</cx:pt>
          <cx:pt idx="659">2.3240778718285844</cx:pt>
          <cx:pt idx="660">2.2596769401424224</cx:pt>
          <cx:pt idx="661">2.3158762997265065</cx:pt>
          <cx:pt idx="662">2.3739574643361983</cx:pt>
          <cx:pt idx="663">2.4378682563090881</cx:pt>
          <cx:pt idx="664">2.4267278559270746</cx:pt>
          <cx:pt idx="665">2.3904674576975933</cx:pt>
          <cx:pt idx="666">2.3543145755756147</cx:pt>
          <cx:pt idx="667">2.3969952160857479</cx:pt>
          <cx:pt idx="668">2.3358798864756678</cx:pt>
          <cx:pt idx="669">2.3364845486777548</cx:pt>
          <cx:pt idx="670">2.2568945287473268</cx:pt>
          <cx:pt idx="671">2.176030446569813</cx:pt>
          <cx:pt idx="672">2.1625996185387542</cx:pt>
          <cx:pt idx="673">2.1366248046514311</cx:pt>
          <cx:pt idx="674">2.0556949699056264</cx:pt>
          <cx:pt idx="675">2.0337140631821069</cx:pt>
          <cx:pt idx="676">1.97859118298948</cx:pt>
          <cx:pt idx="677">1.9141083811718906</cx:pt>
          <cx:pt idx="678">1.9351112292714685</cx:pt>
          <cx:pt idx="679">1.92506670255742</cx:pt>
          <cx:pt idx="680">1.9735080057479983</cx:pt>
          <cx:pt idx="681">1.9056180300427641</cx:pt>
          <cx:pt idx="682">1.8672257354257802</cx:pt>
          <cx:pt idx="683">1.865911159648471</cx:pt>
          <cx:pt idx="684">1.8630514305086063</cx:pt>
          <cx:pt idx="685">1.8882660677345078</cx:pt>
          <cx:pt idx="686">1.9892005595414848</cx:pt>
          <cx:pt idx="687">1.9055574058333045</cx:pt>
          <cx:pt idx="688">1.9036324703694076</cx:pt>
          <cx:pt idx="689">1.8968983649872866</cx:pt>
          <cx:pt idx="690">1.9023570669104135</cx:pt>
          <cx:pt idx="691">1.9573010650751133</cx:pt>
          <cx:pt idx="692">1.9867985167647939</cx:pt>
          <cx:pt idx="693">1.9327263807312125</cx:pt>
          <cx:pt idx="694">1.9112800370632308</cx:pt>
          <cx:pt idx="695">1.9867491366239336</cx:pt>
          <cx:pt idx="696">1.98118888373894</cx:pt>
          <cx:pt idx="697">2.0993082186495911</cx:pt>
          <cx:pt idx="698">2.1082726696737821</cx:pt>
          <cx:pt idx="699">2.104210485768311</cx:pt>
          <cx:pt idx="700">2.1424209379437817</cx:pt>
          <cx:pt idx="701">2.146997308028701</cx:pt>
          <cx:pt idx="702">2.2678513482694775</cx:pt>
          <cx:pt idx="703">2.2961000321594005</cx:pt>
          <cx:pt idx="704">2.2931513177983036</cx:pt>
          <cx:pt idx="705">2.2870755680278871</cx:pt>
          <cx:pt idx="706">2.2955853838421936</cx:pt>
          <cx:pt idx="707">2.3006339850822779</cx:pt>
          <cx:pt idx="708">2.3175464216518202</cx:pt>
          <cx:pt idx="709">2.2980838478443517</cx:pt>
          <cx:pt idx="710">2.2974322558522084</cx:pt>
          <cx:pt idx="711">2.2737148978257347</cx:pt>
          <cx:pt idx="712">2.303335010968647</cx:pt>
          <cx:pt idx="713">2.3510525993459073</cx:pt>
          <cx:pt idx="714">2.3515983397727167</cx:pt>
          <cx:pt idx="715">2.36136818759987</cx:pt>
          <cx:pt idx="716">2.3216759743677544</cx:pt>
          <cx:pt idx="717">2.2155258685593715</cx:pt>
          <cx:pt idx="718">2.3015755038784467</cx:pt>
          <cx:pt idx="719">2.2970737395739915</cx:pt>
          <cx:pt idx="720">2.3190899645279321</cx:pt>
          <cx:pt idx="721">2.3198972818219619</cx:pt>
          <cx:pt idx="722">2.25529187026109</cx:pt>
          <cx:pt idx="723">2.1993196721600374</cx:pt>
          <cx:pt idx="724">2.1802462568104359</cx:pt>
          <cx:pt idx="725">2.1191141139870644</cx:pt>
          <cx:pt idx="726">2.1184442212203183</cx:pt>
          <cx:pt idx="727">2.0577739147934015</cx:pt>
          <cx:pt idx="728">2.0310900854072305</cx:pt>
          <cx:pt idx="729">1.996817515936</cx:pt>
          <cx:pt idx="730">2.0423962800224227</cx:pt>
          <cx:pt idx="731">1.9605215874085011</cx:pt>
          <cx:pt idx="732">1.895930058429621</cx:pt>
          <cx:pt idx="733">1.7724613179951809</cx:pt>
          <cx:pt idx="734">1.7359651628573156</cx:pt>
          <cx:pt idx="735">1.7512574604024682</cx:pt>
          <cx:pt idx="736">1.7633787640273295</cx:pt>
          <cx:pt idx="737">1.8041994123203349</cx:pt>
          <cx:pt idx="738">1.7672295631301571</cx:pt>
          <cx:pt idx="739">1.7337340690232403</cx:pt>
          <cx:pt idx="740">1.7453203353420013</cx:pt>
          <cx:pt idx="741">1.7845282321347213</cx:pt>
          <cx:pt idx="742">1.7652238625208228</cx:pt>
          <cx:pt idx="743">1.6872504801850134</cx:pt>
          <cx:pt idx="744">1.6875673049892674</cx:pt>
          <cx:pt idx="745">1.7113215201764378</cx:pt>
          <cx:pt idx="746">1.7824388968112037</cx:pt>
          <cx:pt idx="747">1.7813401317735722</cx:pt>
          <cx:pt idx="748">1.8043587932937448</cx:pt>
          <cx:pt idx="749">1.7284064808207622</cx:pt>
          <cx:pt idx="750">1.7499875969143168</cx:pt>
          <cx:pt idx="751">1.8066710902458758</cx:pt>
          <cx:pt idx="752">1.8138048978843022</cx:pt>
          <cx:pt idx="753">1.8645472346647369</cx:pt>
          <cx:pt idx="754">1.8313905348699466</cx:pt>
          <cx:pt idx="755">1.8475631886542823</cx:pt>
          <cx:pt idx="756">1.9059642039627929</cx:pt>
          <cx:pt idx="757">1.8575032476730609</cx:pt>
          <cx:pt idx="758">1.8607581904367227</cx:pt>
          <cx:pt idx="759">1.8984335964073147</cx:pt>
          <cx:pt idx="760">1.8845001925549933</cx:pt>
          <cx:pt idx="761">1.9440442170610646</cx:pt>
          <cx:pt idx="762">1.9770511330756482</cx:pt>
          <cx:pt idx="763">1.9755982280463604</cx:pt>
          <cx:pt idx="764">1.9779355188512393</cx:pt>
          <cx:pt idx="765">1.9629905530822804</cx:pt>
          <cx:pt idx="766">1.9910242024953519</cx:pt>
          <cx:pt idx="767">2.0075662442829638</cx:pt>
          <cx:pt idx="768">1.9934034999347097</cx:pt>
          <cx:pt idx="769">1.9995492249491547</cx:pt>
          <cx:pt idx="770">2.0093197942895538</cx:pt>
          <cx:pt idx="771">2.0286363652790675</cx:pt>
          <cx:pt idx="772">2.069968152101711</cx:pt>
          <cx:pt idx="773">2.1244203081742921</cx:pt>
          <cx:pt idx="774">2.125039975891752</cx:pt>
          <cx:pt idx="775">2.1052418783155211</cx:pt>
          <cx:pt idx="776">2.0858552548815745</cx:pt>
          <cx:pt idx="777">2.0246087551407363</cx:pt>
          <cx:pt idx="778">2.0551778886302077</cx:pt>
          <cx:pt idx="779">2.0787518556879259</cx:pt>
          <cx:pt idx="780">2.0954709044893378</cx:pt>
          <cx:pt idx="781">2.073801919969755</cx:pt>
          <cx:pt idx="782">2.0948864377057528</cx:pt>
          <cx:pt idx="783">2.081541000982658</cx:pt>
          <cx:pt idx="784">2.0339594451747702</cx:pt>
          <cx:pt idx="785">2.1240523367691302</cx:pt>
          <cx:pt idx="786">2.1202829413022841</cx:pt>
          <cx:pt idx="787">2.0685335977453523</cx:pt>
          <cx:pt idx="788">2.1179590752119446</cx:pt>
          <cx:pt idx="789">2.1361377971768345</cx:pt>
          <cx:pt idx="790">2.076476347361055</cx:pt>
          <cx:pt idx="791">2.0659010228822332</cx:pt>
          <cx:pt idx="792">2.0291278021430812</cx:pt>
          <cx:pt idx="793">2.0152605384336031</cx:pt>
          <cx:pt idx="794">2.0293558725035683</cx:pt>
          <cx:pt idx="795">2.0759134161020718</cx:pt>
          <cx:pt idx="796">2.0735722240658272</cx:pt>
          <cx:pt idx="797">2.0627829913114337</cx:pt>
          <cx:pt idx="798">2.0529323505938541</cx:pt>
          <cx:pt idx="799">2.0233215926995443</cx:pt>
          <cx:pt idx="800">2.0242700520822843</cx:pt>
          <cx:pt idx="801">1.9983570964779995</cx:pt>
          <cx:pt idx="802">1.9587165477754693</cx:pt>
          <cx:pt idx="803">1.8776310252892499</cx:pt>
          <cx:pt idx="804">1.8605470902356764</cx:pt>
          <cx:pt idx="805">1.8856131190204084</cx:pt>
          <cx:pt idx="806">1.9233965705813652</cx:pt>
          <cx:pt idx="807">2.0097858875911916</cx:pt>
          <cx:pt idx="808">2.0574690053315767</cx:pt>
          <cx:pt idx="809">2.0828746140322845</cx:pt>
          <cx:pt idx="810">2.0476115486821769</cx:pt>
          <cx:pt idx="811">2.1158080582716501</cx:pt>
          <cx:pt idx="812">2.1130106495600471</cx:pt>
          <cx:pt idx="813">2.0641607543156542</cx:pt>
          <cx:pt idx="814">2.0580805062298988</cx:pt>
          <cx:pt idx="815">2.0542104762432114</cx:pt>
          <cx:pt idx="816">1.945202749987414</cx:pt>
          <cx:pt idx="817">1.916642885421143</cx:pt>
          <cx:pt idx="818">1.9525764707830899</cx:pt>
          <cx:pt idx="819">1.8831601129535631</cx:pt>
          <cx:pt idx="820">1.8647950526230928</cx:pt>
          <cx:pt idx="821">1.872276991297638</cx:pt>
          <cx:pt idx="822">1.8765571217313333</cx:pt>
          <cx:pt idx="823">1.8985564212034947</cx:pt>
          <cx:pt idx="824">1.9095127774815086</cx:pt>
          <cx:pt idx="825">1.9631118737648985</cx:pt>
          <cx:pt idx="826">1.9710776422789478</cx:pt>
          <cx:pt idx="827">2.0284741036537759</cx:pt>
          <cx:pt idx="828">2.0126291035972272</cx:pt>
          <cx:pt idx="829">1.9986274504701165</cx:pt>
          <cx:pt idx="830">2.0362959072663527</cx:pt>
          <cx:pt idx="831">2.1000431203335523</cx:pt>
          <cx:pt idx="832">2.1315913086597167</cx:pt>
          <cx:pt idx="833">2.1794278205911333</cx:pt>
          <cx:pt idx="834">2.1781729079074954</cx:pt>
          <cx:pt idx="835">2.2244145884397675</cx:pt>
          <cx:pt idx="836">2.2608047001272911</cx:pt>
          <cx:pt idx="837">2.2961526671811874</cx:pt>
          <cx:pt idx="838">2.1834488855507161</cx:pt>
          <cx:pt idx="839">2.195119603924899</cx:pt>
          <cx:pt idx="840">2.0949519332421112</cx:pt>
          <cx:pt idx="841">2.0737465552992216</cx:pt>
          <cx:pt idx="842">2.0368354082755977</cx:pt>
          <cx:pt idx="843">2.0868033981769449</cx:pt>
          <cx:pt idx="844">2.0862725591707867</cx:pt>
          <cx:pt idx="845">2.0631215742302254</cx:pt>
          <cx:pt idx="846">2.0951964205110993</cx:pt>
          <cx:pt idx="847">2.0986253980338043</cx:pt>
          <cx:pt idx="848">2.0481621267361247</cx:pt>
          <cx:pt idx="849">2.0526455977732141</cx:pt>
          <cx:pt idx="850">2.0589998339873845</cx:pt>
          <cx:pt idx="851">2.1040893606686089</cx:pt>
          <cx:pt idx="852">2.1351148364412644</cx:pt>
          <cx:pt idx="853">2.1534656668700296</cx:pt>
          <cx:pt idx="854">2.1038095806469235</cx:pt>
          <cx:pt idx="855">2.0999266637781049</cx:pt>
          <cx:pt idx="856">2.107054836806717</cx:pt>
          <cx:pt idx="857">2.0289846757771097</cx:pt>
          <cx:pt idx="858">1.9609064692399931</cx:pt>
          <cx:pt idx="859">1.9400762485004432</cx:pt>
          <cx:pt idx="860">1.9571550471110908</cx:pt>
          <cx:pt idx="861">1.934577352209117</cx:pt>
          <cx:pt idx="862">1.9507425779301795</cx:pt>
          <cx:pt idx="863">1.8991440353964941</cx:pt>
          <cx:pt idx="864">1.9068770853435648</cx:pt>
          <cx:pt idx="865">1.9665266010999973</cx:pt>
          <cx:pt idx="866">1.8739824396058102</cx:pt>
          <cx:pt idx="867">1.7744628444146477</cx:pt>
          <cx:pt idx="868">1.7334045607387514</cx:pt>
          <cx:pt idx="869">1.7603651980479884</cx:pt>
          <cx:pt idx="870">1.81622749316829</cx:pt>
          <cx:pt idx="871">1.8371501272527706</cx:pt>
          <cx:pt idx="872">1.813228639274403</cx:pt>
          <cx:pt idx="873">1.8072565204778104</cx:pt>
          <cx:pt idx="874">1.8490373034672491</cx:pt>
          <cx:pt idx="875">1.8295375584973776</cx:pt>
          <cx:pt idx="876">1.9188802682941684</cx:pt>
          <cx:pt idx="877">1.9168125738937825</cx:pt>
          <cx:pt idx="878">1.9562739861793501</cx:pt>
          <cx:pt idx="879">1.9538620278714809</cx:pt>
          <cx:pt idx="880">2.0213012975296407</cx:pt>
          <cx:pt idx="881">2.025898959863131</cx:pt>
          <cx:pt idx="882">1.9970492762532237</cx:pt>
          <cx:pt idx="883">1.9792148415376598</cx:pt>
          <cx:pt idx="884">1.9894775179566146</cx:pt>
          <cx:pt idx="885">1.9705195966221252</cx:pt>
          <cx:pt idx="886">1.9980815467820292</cx:pt>
          <cx:pt idx="887">1.9627257944528151</cx:pt>
          <cx:pt idx="888">1.99746609233087</cx:pt>
          <cx:pt idx="889">1.9980473894922302</cx:pt>
          <cx:pt idx="890">2.0471486847545362</cx:pt>
          <cx:pt idx="891">2.0028414898815745</cx:pt>
          <cx:pt idx="892">2.0161137061534253</cx:pt>
          <cx:pt idx="893">2.0429997651792648</cx:pt>
          <cx:pt idx="894">2.0425978096001982</cx:pt>
          <cx:pt idx="895">1.9629481796144737</cx:pt>
          <cx:pt idx="896">1.9323415885731372</cx:pt>
          <cx:pt idx="897">1.9892480919200803</cx:pt>
          <cx:pt idx="898">1.9908824433466206</cx:pt>
          <cx:pt idx="899">2.0304632784252292</cx:pt>
          <cx:pt idx="900">2.0398153611404788</cx:pt>
          <cx:pt idx="901">1.9730846872729932</cx:pt>
          <cx:pt idx="902">1.9577287042775173</cx:pt>
          <cx:pt idx="903">1.9860682454151861</cx:pt>
          <cx:pt idx="904">2.0317798571003793</cx:pt>
          <cx:pt idx="905">1.9473113073276112</cx:pt>
          <cx:pt idx="906">1.960597191922302</cx:pt>
          <cx:pt idx="907">1.9175252868753665</cx:pt>
          <cx:pt idx="908">1.9095204097228093</cx:pt>
          <cx:pt idx="909">1.9734629761838551</cx:pt>
          <cx:pt idx="910">1.9315185898449332</cx:pt>
          <cx:pt idx="911">1.8985328304719913</cx:pt>
          <cx:pt idx="912">1.9167452566580614</cx:pt>
          <cx:pt idx="913">1.8716271954264598</cx:pt>
          <cx:pt idx="914">1.8933229573550772</cx:pt>
          <cx:pt idx="915">1.855241661051491</cx:pt>
          <cx:pt idx="916">1.8637913770974828</cx:pt>
          <cx:pt idx="917">1.8798201055564916</cx:pt>
          <cx:pt idx="918">1.8937445843113911</cx:pt>
          <cx:pt idx="919">1.8391423282845465</cx:pt>
          <cx:pt idx="920">1.8823988884936456</cx:pt>
          <cx:pt idx="921">1.8939878312476679</cx:pt>
          <cx:pt idx="922">1.8823252418231606</cx:pt>
          <cx:pt idx="923">1.8583605555706946</cx:pt>
          <cx:pt idx="924">1.8252338313367558</cx:pt>
          <cx:pt idx="925">1.9108883220455226</cx:pt>
          <cx:pt idx="926">2.0139121568280691</cx:pt>
          <cx:pt idx="927">2.0346852809856695</cx:pt>
          <cx:pt idx="928">2.042559175936749</cx:pt>
          <cx:pt idx="929">2.084442377869812</cx:pt>
          <cx:pt idx="930">2.1084301388484117</cx:pt>
          <cx:pt idx="931">2.1107306465016369</cx:pt>
          <cx:pt idx="932">2.1594376734450202</cx:pt>
          <cx:pt idx="933">2.2200506525813002</cx:pt>
          <cx:pt idx="934">2.2273820070145018</cx:pt>
          <cx:pt idx="935">2.171211592547885</cx:pt>
          <cx:pt idx="936">2.168966548634681</cx:pt>
          <cx:pt idx="937">2.2120500798697504</cx:pt>
          <cx:pt idx="938">2.2224369871635004</cx:pt>
          <cx:pt idx="939">2.2884428687105109</cx:pt>
          <cx:pt idx="940">2.2374818588919383</cx:pt>
          <cx:pt idx="941">2.2383379851863743</cx:pt>
          <cx:pt idx="942">2.2374867837459984</cx:pt>
          <cx:pt idx="943">2.2253891530716783</cx:pt>
          <cx:pt idx="944">2.2402709272371046</cx:pt>
          <cx:pt idx="945">2.2918164505149172</cx:pt>
          <cx:pt idx="946">2.3107019418274533</cx:pt>
          <cx:pt idx="947">2.3128233932452913</cx:pt>
          <cx:pt idx="948">2.2527254344578722</cx:pt>
          <cx:pt idx="949">2.2403553373692402</cx:pt>
          <cx:pt idx="950">2.2652876867107836</cx:pt>
          <cx:pt idx="951">2.2652876867107841</cx:pt>
          <cx:pt idx="952">2.2258342752592486</cx:pt>
          <cx:pt idx="953">2.2599199648612389</cx:pt>
          <cx:pt idx="954">2.3076324856043193</cx:pt>
          <cx:pt idx="955">2.2826135707582567</cx:pt>
          <cx:pt idx="956">2.2193069594880037</cx:pt>
          <cx:pt idx="957">2.1398300946362454</cx:pt>
          <cx:pt idx="958">2.119285537605756</cx:pt>
          <cx:pt idx="959">2.0700452542114269</cx:pt>
          <cx:pt idx="960">2.0411346149401233</cx:pt>
          <cx:pt idx="961">1.9954830357554381</cx:pt>
          <cx:pt idx="962">2.0309546232680225</cx:pt>
          <cx:pt idx="963">1.990439246996325</cx:pt>
          <cx:pt idx="964">1.9237096113497578</cx:pt>
          <cx:pt idx="965">1.9038104134773424</cx:pt>
          <cx:pt idx="966">1.9383796223379559</cx:pt>
          <cx:pt idx="967">1.9949891908230819</cx:pt>
          <cx:pt idx="968">1.9541458137887342</cx:pt>
          <cx:pt idx="969">1.8523192127253167</cx:pt>
          <cx:pt idx="970">1.7560496289899379</cx:pt>
          <cx:pt idx="971">1.7577066725773878</cx:pt>
          <cx:pt idx="972">1.7892922821765622</cx:pt>
          <cx:pt idx="973">1.8112469897964623</cx:pt>
          <cx:pt idx="974">1.7991089552800821</cx:pt>
          <cx:pt idx="975">1.8772394842961606</cx:pt>
          <cx:pt idx="976">1.8012813749285383</cx:pt>
          <cx:pt idx="977">1.7975557325352249</cx:pt>
          <cx:pt idx="978">1.8029039442485484</cx:pt>
          <cx:pt idx="979">1.9158276149231683</cx:pt>
          <cx:pt idx="980">1.910028536679601</cx:pt>
          <cx:pt idx="981">1.8659858351395013</cx:pt>
          <cx:pt idx="982">1.8927001067591269</cx:pt>
          <cx:pt idx="983">1.8923056726936947</cx:pt>
          <cx:pt idx="984">1.9543184300624947</cx:pt>
          <cx:pt idx="985">1.9433264138778432</cx:pt>
          <cx:pt idx="986">1.9463059866553796</cx:pt>
          <cx:pt idx="987">1.9283722126147698</cx:pt>
          <cx:pt idx="988">1.8968668831191229</cx:pt>
          <cx:pt idx="989">1.9676493153792538</cx:pt>
          <cx:pt idx="990">2.034362408635328</cx:pt>
          <cx:pt idx="991">2.0687734751441624</cx:pt>
          <cx:pt idx="992">2.0859460840332487</cx:pt>
          <cx:pt idx="993">2.0277632237172196</cx:pt>
          <cx:pt idx="994">2.0129921915686717</cx:pt>
          <cx:pt idx="995">2.0094291192352616</cx:pt>
          <cx:pt idx="996">2.0120627957931307</cx:pt>
          <cx:pt idx="997">2.0610395725920143</cx:pt>
          <cx:pt idx="998">1.9968766155918209</cx:pt>
          <cx:pt idx="999">2.0213537023518544</cx:pt>
          <cx:pt idx="1000">2.0222964053932166</cx:pt>
          <cx:pt idx="1001">2.0695059944036527</cx:pt>
          <cx:pt idx="1002">2.0751540388798921</cx:pt>
          <cx:pt idx="1003">2.1204993635639977</cx:pt>
          <cx:pt idx="1004">2.1390091562733353</cx:pt>
          <cx:pt idx="1005">2.1955676248784859</cx:pt>
          <cx:pt idx="1006">2.1083458420378571</cx:pt>
          <cx:pt idx="1007">2.0937053001657278</cx:pt>
          <cx:pt idx="1008">2.1084220465008423</cx:pt>
          <cx:pt idx="1009">2.1055999693158491</cx:pt>
          <cx:pt idx="1010">2.0053234049870419</cx:pt>
          <cx:pt idx="1011">2.0028329709083352</cx:pt>
          <cx:pt idx="1012">2.0337035761124969</cx:pt>
          <cx:pt idx="1013">2.0447618681609647</cx:pt>
          <cx:pt idx="1014">2.1297353133921946</cx:pt>
          <cx:pt idx="1015">2.0380263076768426</cx:pt>
          <cx:pt idx="1016">2.0082348905969387</cx:pt>
          <cx:pt idx="1017">2.131325312407764</cx:pt>
          <cx:pt idx="1018">2.1451498367046899</cx:pt>
          <cx:pt idx="1019">2.2307561484546676</cx:pt>
          <cx:pt idx="1020">2.1730818902664399</cx:pt>
          <cx:pt idx="1021">2.0947678278827473</cx:pt>
          <cx:pt idx="1022">2.0953280687356304</cx:pt>
          <cx:pt idx="1023">2.114771397696718</cx:pt>
          <cx:pt idx="1024">2.0946237562750758</cx:pt>
          <cx:pt idx="1025">2.1726027277522757</cx:pt>
          <cx:pt idx="1026">2.2418778230458618</cx:pt>
          <cx:pt idx="1027">2.2665727812611558</cx:pt>
          <cx:pt idx="1028">2.1492221338616222</cx:pt>
          <cx:pt idx="1029">2.1237628010406375</cx:pt>
          <cx:pt idx="1030">2.1105485912210336</cx:pt>
          <cx:pt idx="1031">2.2271823549802501</cx:pt>
          <cx:pt idx="1032">2.2026551438550852</cx:pt>
          <cx:pt idx="1033">2.1585299986536053</cx:pt>
          <cx:pt idx="1034">1.9806198678375049</cx:pt>
          <cx:pt idx="1035">1.9693171150381881</cx:pt>
          <cx:pt idx="1036">1.7995315207369964</cx:pt>
          <cx:pt idx="1037">1.7587698778294003</cx:pt>
          <cx:pt idx="1038">1.7099384350618494</cx:pt>
          <cx:pt idx="1039">1.5807038692608675</cx:pt>
          <cx:pt idx="1040">1.5560700337895343</cx:pt>
          <cx:pt idx="1041">1.5251188088613969</cx:pt>
          <cx:pt idx="1042">1.4776825508684293</cx:pt>
          <cx:pt idx="1043">1.4823659099614126</cx:pt>
          <cx:pt idx="1044">1.559748286126871</cx:pt>
          <cx:pt idx="1045">1.6069404255680972</cx:pt>
          <cx:pt idx="1046">1.576968329497056</cx:pt>
          <cx:pt idx="1047">1.5836447471420554</cx:pt>
          <cx:pt idx="1048">1.5637486604063886</cx:pt>
          <cx:pt idx="1049">1.6246094623299394</cx:pt>
          <cx:pt idx="1050">1.6224511211833668</cx:pt>
          <cx:pt idx="1051">1.6203456267832153</cx:pt>
          <cx:pt idx="1052">1.5933537424509974</cx:pt>
          <cx:pt idx="1053">1.5940175190574093</cx:pt>
          <cx:pt idx="1054">1.6311161653614921</cx:pt>
          <cx:pt idx="1055">1.5888651022541003</cx:pt>
          <cx:pt idx="1056">1.6461838492222929</cx:pt>
          <cx:pt idx="1057">1.6538806093357841</cx:pt>
          <cx:pt idx="1058">1.6974263454851604</cx:pt>
          <cx:pt idx="1059">1.903979005296065</cx:pt>
          <cx:pt idx="1060">2.0995708219028724</cx:pt>
          <cx:pt idx="1061">2.1840739397959239</cx:pt>
          <cx:pt idx="1062">2.2086117932984166</cx:pt>
          <cx:pt idx="1063">2.2607337893937687</cx:pt>
          <cx:pt idx="1064">2.261128408461607</cx:pt>
          <cx:pt idx="1065">2.3605746016623432</cx:pt>
          <cx:pt idx="1066">2.4683132934312573</cx:pt>
          <cx:pt idx="1067">2.569636150813873</cx:pt>
          <cx:pt idx="1068">2.6876187910193332</cx:pt>
          <cx:pt idx="1069">2.6538104741823827</cx:pt>
          <cx:pt idx="1070">2.5958195650760683</cx:pt>
          <cx:pt idx="1071">2.5278868709550539</cx:pt>
          <cx:pt idx="1072">2.5277290951342053</cx:pt>
          <cx:pt idx="1073">2.547129737834263</cx:pt>
          <cx:pt idx="1074">2.5088358916686806</cx:pt>
          <cx:pt idx="1075">2.3792483879732567</cx:pt>
          <cx:pt idx="1076">2.3850261578007421</cx:pt>
          <cx:pt idx="1077">2.3160257928630998</cx:pt>
          <cx:pt idx="1078">2.3590297240138316</cx:pt>
          <cx:pt idx="1079">2.2922179692815527</cx:pt>
          <cx:pt idx="1080">2.05702011019822</cx:pt>
          <cx:pt idx="1081">2.0338975781472688</cx:pt>
          <cx:pt idx="1082">1.9516620164162326</cx:pt>
          <cx:pt idx="1083">1.8238309113248583</cx:pt>
          <cx:pt idx="1084">1.6898692395398791</cx:pt>
          <cx:pt idx="1085">1.7655977645256373</cx:pt>
          <cx:pt idx="1086">1.891093682245039</cx:pt>
          <cx:pt idx="1087">1.886613475546574</cx:pt>
          <cx:pt idx="1088">1.9709151507844198</cx:pt>
          <cx:pt idx="1089">1.9662782271715491</cx:pt>
          <cx:pt idx="1090">1.9492789991094055</cx:pt>
          <cx:pt idx="1091">1.9517742067118327</cx:pt>
          <cx:pt idx="1092">2.1133600235587453</cx:pt>
          <cx:pt idx="1093">2.2207148654122792</cx:pt>
          <cx:pt idx="1094">2.2721664997323594</cx:pt>
          <cx:pt idx="1095">2.2634087752208081</cx:pt>
          <cx:pt idx="1096">2.233785160495676</cx:pt>
          <cx:pt idx="1097">2.181651345853318</cx:pt>
          <cx:pt idx="1098">2.1455725069879099</cx:pt>
          <cx:pt idx="1099">2.1053777946123469</cx:pt>
          <cx:pt idx="1100">2.1026703092911028</cx:pt>
          <cx:pt idx="1101">2.1172441591530493</cx:pt>
          <cx:pt idx="1102">2.120921750828177</cx:pt>
          <cx:pt idx="1103">2.1632681615778253</cx:pt>
          <cx:pt idx="1104">2.19083425481515</cx:pt>
          <cx:pt idx="1105">2.2271343145293776</cx:pt>
          <cx:pt idx="1106">2.196227265256856</cx:pt>
          <cx:pt idx="1107">2.201439468323739</cx:pt>
          <cx:pt idx="1108">2.1980699708852529</cx:pt>
          <cx:pt idx="1109">2.1638013030931824</cx:pt>
          <cx:pt idx="1110">2.1800452229453668</cx:pt>
          <cx:pt idx="1111">2.1940434619388403</cx:pt>
          <cx:pt idx="1112">2.1604935403845098</cx:pt>
          <cx:pt idx="1113">2.0699095937921892</cx:pt>
          <cx:pt idx="1114">2.0771902355971257</cx:pt>
          <cx:pt idx="1115">2.0864478736372729</cx:pt>
          <cx:pt idx="1116">2.0640699997843104</cx:pt>
          <cx:pt idx="1117">1.9660016166587666</cx:pt>
          <cx:pt idx="1118">2.0597677554171279</cx:pt>
          <cx:pt idx="1119">2.0738259165814115</cx:pt>
          <cx:pt idx="1120">2.1098911415439328</cx:pt>
          <cx:pt idx="1121">2.1795021921037914</cx:pt>
          <cx:pt idx="1122">2.1803861380522473</cx:pt>
          <cx:pt idx="1123">2.0823704270793204</cx:pt>
          <cx:pt idx="1124">2.0662950047498589</cx:pt>
          <cx:pt idx="1125">2.0254197265926175</cx:pt>
          <cx:pt idx="1126">2.0615781158459208</cx:pt>
          <cx:pt idx="1127">2.0930707513547722</cx:pt>
          <cx:pt idx="1128">2.1375148413448932</cx:pt>
          <cx:pt idx="1129">2.152811581926771</cx:pt>
          <cx:pt idx="1130">2.1324277714567166</cx:pt>
          <cx:pt idx="1131">2.1531244514846919</cx:pt>
          <cx:pt idx="1132">2.2417376561119999</cx:pt>
          <cx:pt idx="1133">2.2560374087842181</cx:pt>
          <cx:pt idx="1134">2.2781843380369682</cx:pt>
          <cx:pt idx="1135">2.186296154125698</cx:pt>
          <cx:pt idx="1136">2.1799129837505937</cx:pt>
          <cx:pt idx="1137">2.2184803414334251</cx:pt>
          <cx:pt idx="1138">2.2191003338415198</cx:pt>
          <cx:pt idx="1139">2.3078110075723237</cx:pt>
          <cx:pt idx="1140">2.3071524564108308</cx:pt>
          <cx:pt idx="1141">2.3933495938753904</cx:pt>
          <cx:pt idx="1142">2.4187666407822559</cx:pt>
          <cx:pt idx="1143">2.4181857870450059</cx:pt>
          <cx:pt idx="1144">2.4708669904207365</cx:pt>
          <cx:pt idx="1145">2.4362725942634249</cx:pt>
          <cx:pt idx="1146">2.4321932179907257</cx:pt>
          <cx:pt idx="1147">2.4324014703217136</cx:pt>
          <cx:pt idx="1148">2.4673465117827331</cx:pt>
          <cx:pt idx="1149">2.4143760613772125</cx:pt>
          <cx:pt idx="1150">2.4275411086117185</cx:pt>
          <cx:pt idx="1151">2.4288703138518319</cx:pt>
          <cx:pt idx="1152">2.3660742371768921</cx:pt>
          <cx:pt idx="1153">2.2953862440599622</cx:pt>
          <cx:pt idx="1154">2.3338748911337697</cx:pt>
          <cx:pt idx="1155">2.2887407696920223</cx:pt>
          <cx:pt idx="1156">2.2659795823263207</cx:pt>
          <cx:pt idx="1157">2.3006976404966286</cx:pt>
          <cx:pt idx="1158">2.3118853788962319</cx:pt>
          <cx:pt idx="1159">2.3068191810041698</cx:pt>
          <cx:pt idx="1160">2.2862953743339434</cx:pt>
          <cx:pt idx="1161">2.2694701978912781</cx:pt>
          <cx:pt idx="1162">2.2477678531583254</cx:pt>
          <cx:pt idx="1163">2.2533855370849087</cx:pt>
          <cx:pt idx="1164">2.2510724361445864</cx:pt>
          <cx:pt idx="1165">2.1964564337921577</cx:pt>
          <cx:pt idx="1166">2.1869881724661213</cx:pt>
          <cx:pt idx="1167">2.2440855646181679</cx:pt>
          <cx:pt idx="1168">2.2858382334269858</cx:pt>
          <cx:pt idx="1169">2.2839410546932739</cx:pt>
          <cx:pt idx="1170">2.1945882397362846</cx:pt>
          <cx:pt idx="1171">2.152610297738657</cx:pt>
          <cx:pt idx="1172">2.0834807057090643</cx:pt>
          <cx:pt idx="1173">2.0830179624446497</cx:pt>
          <cx:pt idx="1174">2.0831053318762982</cx:pt>
          <cx:pt idx="1175">2.1247514112232615</cx:pt>
          <cx:pt idx="1176">2.1528345327430549</cx:pt>
          <cx:pt idx="1177">2.1453836328721847</cx:pt>
          <cx:pt idx="1178">2.1953118091501111</cx:pt>
          <cx:pt idx="1179">2.1509715833391909</cx:pt>
          <cx:pt idx="1180">2.2006148612037779</cx:pt>
          <cx:pt idx="1181">2.1313499955888959</cx:pt>
          <cx:pt idx="1182">2.0893880310425219</cx:pt>
          <cx:pt idx="1183">2.1069502400295828</cx:pt>
          <cx:pt idx="1184">2.116653109433599</cx:pt>
          <cx:pt idx="1185">2.0771981073673511</cx:pt>
          <cx:pt idx="1186">2.0434613075238328</cx:pt>
          <cx:pt idx="1187">2.0640154073756181</cx:pt>
          <cx:pt idx="1188">2.0072618541363312</cx:pt>
          <cx:pt idx="1189">2.0882189332870866</cx:pt>
          <cx:pt idx="1190">2.0518356856663629</cx:pt>
          <cx:pt idx="1191">2.0576559296922721</cx:pt>
          <cx:pt idx="1192">2.108286157858076</cx:pt>
          <cx:pt idx="1193">2.129775203009908</cx:pt>
          <cx:pt idx="1194">2.0285448975787856</cx:pt>
          <cx:pt idx="1195">2.0089818753780753</cx:pt>
          <cx:pt idx="1196">2.0422586089223813</cx:pt>
          <cx:pt idx="1197">2.0682945518349807</cx:pt>
          <cx:pt idx="1198">2.0546836863852</cx:pt>
          <cx:pt idx="1199">2.0118649214345838</cx:pt>
          <cx:pt idx="1200">2.0102730915926492</cx:pt>
          <cx:pt idx="1201">2.0361438577112585</cx:pt>
          <cx:pt idx="1202">2.0745945182989112</cx:pt>
          <cx:pt idx="1203">2.0434969670300647</cx:pt>
          <cx:pt idx="1204">2.1378710183009875</cx:pt>
          <cx:pt idx="1205">2.2413630946751684</cx:pt>
          <cx:pt idx="1206">2.29756113473969</cx:pt>
          <cx:pt idx="1207">2.2922651109422221</cx:pt>
          <cx:pt idx="1208">2.4047079035313836</cx:pt>
          <cx:pt idx="1209">2.468790927002773</cx:pt>
          <cx:pt idx="1210">2.5018893065431489</cx:pt>
          <cx:pt idx="1211">2.4121635544503675</cx:pt>
          <cx:pt idx="1212">2.4038388682565643</cx:pt>
          <cx:pt idx="1213">2.4005205454619829</cx:pt>
          <cx:pt idx="1214">2.5201979782275745</cx:pt>
          <cx:pt idx="1215">2.5148933431666176</cx:pt>
          <cx:pt idx="1216">2.4966166744535139</cx:pt>
          <cx:pt idx="1217">2.5386913363454044</cx:pt>
          <cx:pt idx="1218">2.4585351160622118</cx:pt>
          <cx:pt idx="1219">2.4425348958243802</cx:pt>
          <cx:pt idx="1220">2.3381030073873608</cx:pt>
          <cx:pt idx="1221">2.3379169158031701</cx:pt>
          <cx:pt idx="1222">2.3151328347754232</cx:pt>
          <cx:pt idx="1223">2.2448194652815832</cx:pt>
          <cx:pt idx="1224">2.2660641328580122</cx:pt>
          <cx:pt idx="1225">2.2549741023473353</cx:pt>
          <cx:pt idx="1226">2.1610791791827602</cx:pt>
          <cx:pt idx="1227">2.0203285721196043</cx:pt>
          <cx:pt idx="1228">2.0268041224252067</cx:pt>
          <cx:pt idx="1229">2.0921437979681308</cx:pt>
          <cx:pt idx="1230">1.9858892602344438</cx:pt>
          <cx:pt idx="1231">1.9247461259905625</cx:pt>
          <cx:pt idx="1232">1.6833153358362083</cx:pt>
          <cx:pt idx="1233">1.6940451688297351</cx:pt>
          <cx:pt idx="1234">1.6249142189008317</cx:pt>
          <cx:pt idx="1235">1.6428720357126028</cx:pt>
          <cx:pt idx="1236">1.6725595988893316</cx:pt>
          <cx:pt idx="1237">1.6992221470696454</cx:pt>
          <cx:pt idx="1238">1.7417058147450903</cx:pt>
          <cx:pt idx="1239">1.7073600353275569</cx:pt>
          <cx:pt idx="1240">1.7379015467483616</cx:pt>
          <cx:pt idx="1241">1.750321294343151</cx:pt>
          <cx:pt idx="1242">1.6802512581192861</cx:pt>
          <cx:pt idx="1243">1.6165380956092912</cx:pt>
          <cx:pt idx="1244">1.582977519220476</cx:pt>
          <cx:pt idx="1245">1.5750211829212541</cx:pt>
          <cx:pt idx="1246">1.6542523882973006</cx:pt>
          <cx:pt idx="1247">1.977162961414314</cx:pt>
          <cx:pt idx="1248">2.1629464058400902</cx:pt>
          <cx:pt idx="1249">2.295735114430971</cx:pt>
          <cx:pt idx="1250">2.4568598480184964</cx:pt>
          <cx:pt idx="1251">2.4578105071616099</cx:pt>
          <cx:pt idx="1252">2.651874819901634</cx:pt>
          <cx:pt idx="1253">2.7458741336489454</cx:pt>
          <cx:pt idx="1254">2.7026393555854225</cx:pt>
          <cx:pt idx="1255">2.7287111228046403</cx:pt>
          <cx:pt idx="1256">2.7176470081339361</cx:pt>
          <cx:pt idx="1257">2.7125356149487865</cx:pt>
          <cx:pt idx="1258">2.7771310956714119</cx:pt>
          <cx:pt idx="1259">2.7969550924235507</cx:pt>
          <cx:pt idx="1260">2.7256039208431511</cx:pt>
          <cx:pt idx="1261">2.6931577616671025</cx:pt>
          <cx:pt idx="1262">2.6930793604789538</cx:pt>
          <cx:pt idx="1263">2.6552839798068004</cx:pt>
          <cx:pt idx="1264">2.6834531192819422</cx:pt>
          <cx:pt idx="1265">2.6442929261967829</cx:pt>
          <cx:pt idx="1266">2.5762310645248423</cx:pt>
          <cx:pt idx="1267">2.6644269008612107</cx:pt>
          <cx:pt idx="1268">2.6221799330954543</cx:pt>
          <cx:pt idx="1269">2.5062915234957139</cx:pt>
          <cx:pt idx="1270">2.5592519512692631</cx:pt>
          <cx:pt idx="1271">2.4254286931402165</cx:pt>
          <cx:pt idx="1272">2.4649560189986373</cx:pt>
          <cx:pt idx="1273">2.4794846143349445</cx:pt>
          <cx:pt idx="1274">2.4069981503886528</cx:pt>
          <cx:pt idx="1275">2.3103014814558867</cx:pt>
          <cx:pt idx="1276">2.0981363470493406</cx:pt>
          <cx:pt idx="1277">2.1742362559985504</cx:pt>
          <cx:pt idx="1278">2.1305826819556697</cx:pt>
          <cx:pt idx="1279">2.1968014362370711</cx:pt>
          <cx:pt idx="1280">2.1789648987211097</cx:pt>
          <cx:pt idx="1281">2.1963805324552559</cx:pt>
          <cx:pt idx="1282">2.2046129223484066</cx:pt>
          <cx:pt idx="1283">2.1283518997795672</cx:pt>
          <cx:pt idx="1284">2.125521666121112</cx:pt>
          <cx:pt idx="1285">2.1735637273007056</cx:pt>
          <cx:pt idx="1286">2.1722399728391202</cx:pt>
          <cx:pt idx="1287">2.1867406185950387</cx:pt>
          <cx:pt idx="1288">2.1676385108604279</cx:pt>
          <cx:pt idx="1289">2.1716000544321794</cx:pt>
          <cx:pt idx="1290">2.1893561541419415</cx:pt>
          <cx:pt idx="1291">2.1721507883581985</cx:pt>
          <cx:pt idx="1292">2.114684832292304</cx:pt>
          <cx:pt idx="1293">2.1187990743489595</cx:pt>
          <cx:pt idx="1294">2.206842320117087</cx:pt>
          <cx:pt idx="1295">2.1897323066687675</cx:pt>
          <cx:pt idx="1296">2.1855141390293658</cx:pt>
          <cx:pt idx="1297">2.1837588306426299</cx:pt>
          <cx:pt idx="1298">2.1295356871762987</cx:pt>
          <cx:pt idx="1299">2.1011107327330212</cx:pt>
          <cx:pt idx="1300">2.157038825190575</cx:pt>
          <cx:pt idx="1301">2.1281653389584201</cx:pt>
          <cx:pt idx="1302">2.1289542276106701</cx:pt>
          <cx:pt idx="1303">2.0410489320231879</cx:pt>
          <cx:pt idx="1304">2.0607504980716569</cx:pt>
          <cx:pt idx="1305">2.0391094809597416</cx:pt>
          <cx:pt idx="1306">1.9808113524885036</cx:pt>
          <cx:pt idx="1307">1.9925486359556928</cx:pt>
          <cx:pt idx="1308">1.9703907944105772</cx:pt>
          <cx:pt idx="1309">1.9772176147643337</cx:pt>
          <cx:pt idx="1310">2.0281781092217672</cx:pt>
          <cx:pt idx="1311">2.0584485283602043</cx:pt>
          <cx:pt idx="1312">2.0943126703488386</cx:pt>
          <cx:pt idx="1313">2.1500228051671511</cx:pt>
          <cx:pt idx="1314">2.2047575454003603</cx:pt>
          <cx:pt idx="1315">2.2225727736776313</cx:pt>
          <cx:pt idx="1316">2.1441552140179616</cx:pt>
          <cx:pt idx="1317">2.147595730583574</cx:pt>
          <cx:pt idx="1318">2.1451665727837765</cx:pt>
          <cx:pt idx="1319">2.1640659356535008</cx:pt>
          <cx:pt idx="1320">2.1474513960611219</cx:pt>
          <cx:pt idx="1321">2.1588186585568487</cx:pt>
          <cx:pt idx="1322">2.162431464203364</cx:pt>
          <cx:pt idx="1323">2.2306015780462074</cx:pt>
          <cx:pt idx="1324">2.2813417190549705</cx:pt>
          <cx:pt idx="1325">2.2126995052840468</cx:pt>
          <cx:pt idx="1326">2.2757869531459844</cx:pt>
          <cx:pt idx="1327">2.3020352328872367</cx:pt>
          <cx:pt idx="1328">2.288878834733814</cx:pt>
          <cx:pt idx="1329">2.3200417662640551</cx:pt>
          <cx:pt idx="1330">2.2602749384701477</cx:pt>
          <cx:pt idx="1331">2.2376979068127354</cx:pt>
          <cx:pt idx="1332">2.2236661205606265</cx:pt>
          <cx:pt idx="1333">2.1685222112818905</cx:pt>
          <cx:pt idx="1334">2.1832862444494476</cx:pt>
          <cx:pt idx="1335">2.1273073160583746</cx:pt>
          <cx:pt idx="1336">2.1527698075108872</cx:pt>
          <cx:pt idx="1337">2.1727404834831545</cx:pt>
          <cx:pt idx="1338">2.2109960046197932</cx:pt>
          <cx:pt idx="1339">2.2471029365766317</cx:pt>
          <cx:pt idx="1340">2.2487831953682718</cx:pt>
          <cx:pt idx="1341">2.1283071400351776</cx:pt>
          <cx:pt idx="1342">2.2075823224286517</cx:pt>
          <cx:pt idx="1343">2.0980712897662128</cx:pt>
          <cx:pt idx="1344">2.1025080130414686</cx:pt>
          <cx:pt idx="1345">2.0053974977019426</cx:pt>
          <cx:pt idx="1346">1.975800813924568</cx:pt>
          <cx:pt idx="1347">2.1091834341116487</cx:pt>
          <cx:pt idx="1348">2.1808047499729692</cx:pt>
          <cx:pt idx="1349">2.1819076228001695</cx:pt>
          <cx:pt idx="1350">2.2446918338498669</cx:pt>
          <cx:pt idx="1351">2.2815779180521649</cx:pt>
          <cx:pt idx="1352">2.2664018329246058</cx:pt>
          <cx:pt idx="1353">2.2983320910569067</cx:pt>
          <cx:pt idx="1354">2.2458353490801981</cx:pt>
          <cx:pt idx="1355">2.2100351979755368</cx:pt>
          <cx:pt idx="1356">2.2398740617883361</cx:pt>
          <cx:pt idx="1357">2.2647076494729057</cx:pt>
          <cx:pt idx="1358">2.2904749080405313</cx:pt>
          <cx:pt idx="1359">2.2841934804298845</cx:pt>
          <cx:pt idx="1360">2.2638084236625655</cx:pt>
          <cx:pt idx="1361">2.2919087331659518</cx:pt>
          <cx:pt idx="1362">2.34632823755482</cx:pt>
          <cx:pt idx="1363">2.3104731817632138</cx:pt>
          <cx:pt idx="1364">2.2997183573729738</cx:pt>
          <cx:pt idx="1365">2.2667041988309324</cx:pt>
          <cx:pt idx="1366">2.3616374734555476</cx:pt>
          <cx:pt idx="1367">2.3153522301206291</cx:pt>
          <cx:pt idx="1368">2.260469623404147</cx:pt>
          <cx:pt idx="1369">2.1990566957260338</cx:pt>
          <cx:pt idx="1370">2.2357848395477236</cx:pt>
          <cx:pt idx="1371">2.2405574644964252</cx:pt>
          <cx:pt idx="1372">2.2049102196440229</cx:pt>
          <cx:pt idx="1373">2.1758290231885917</cx:pt>
          <cx:pt idx="1374">2.1388494512304681</cx:pt>
          <cx:pt idx="1375">2.1543548509014454</cx:pt>
          <cx:pt idx="1376">2.165515337793555</cx:pt>
          <cx:pt idx="1377">2.2047841472698875</cx:pt>
          <cx:pt idx="1378">2.1387616997833021</cx:pt>
          <cx:pt idx="1379">2.1223687950985908</cx:pt>
          <cx:pt idx="1380">2.1229751645452062</cx:pt>
          <cx:pt idx="1381">2.1345328983262686</cx:pt>
          <cx:pt idx="1382">2.1094988987527277</cx:pt>
          <cx:pt idx="1383">2.0849438474177844</cx:pt>
          <cx:pt idx="1384">2.0351808462753671</cx:pt>
          <cx:pt idx="1385">2.025981072678495</cx:pt>
          <cx:pt idx="1386">1.9730191098196432</cx:pt>
          <cx:pt idx="1387">1.9745849868857375</cx:pt>
          <cx:pt idx="1388">1.9889414344969292</cx:pt>
          <cx:pt idx="1389">1.9898459022381279</cx:pt>
          <cx:pt idx="1390">1.9869253608490181</cx:pt>
          <cx:pt idx="1391">2.0244695232622334</cx:pt>
          <cx:pt idx="1392">2.0291416412441623</cx:pt>
          <cx:pt idx="1393">1.9970439364564729</cx:pt>
          <cx:pt idx="1394">1.9777644246559851</cx:pt>
          <cx:pt idx="1395">1.9760647201426591</cx:pt>
          <cx:pt idx="1396">2.0101272080436989</cx:pt>
          <cx:pt idx="1397">1.9655376190889047</cx:pt>
          <cx:pt idx="1398">1.9657562504506787</cx:pt>
          <cx:pt idx="1399">2.026766064622993</cx:pt>
          <cx:pt idx="1400">2.0277805780438216</cx:pt>
          <cx:pt idx="1401">2.0353270298329074</cx:pt>
          <cx:pt idx="1402">2.0107258820697149</cx:pt>
          <cx:pt idx="1403">2.0599537809542361</cx:pt>
          <cx:pt idx="1404">2.0803777452998116</cx:pt>
          <cx:pt idx="1405">2.053101855314218</cx:pt>
          <cx:pt idx="1406">2.0602861001662727</cx:pt>
          <cx:pt idx="1407">2.091185327496309</cx:pt>
          <cx:pt idx="1408">2.0214097986257697</cx:pt>
          <cx:pt idx="1409">2.0230339811620288</cx:pt>
          <cx:pt idx="1410">2.0103627384127041</cx:pt>
          <cx:pt idx="1411">1.9992009423050749</cx:pt>
          <cx:pt idx="1412">1.9185332751920667</cx:pt>
          <cx:pt idx="1413">1.9037000645688211</cx:pt>
          <cx:pt idx="1414">1.9934974715808711</cx:pt>
          <cx:pt idx="1415">2.0172608045243399</cx:pt>
          <cx:pt idx="1416">2.0353713893138945</cx:pt>
          <cx:pt idx="1417">2.097357051787732</cx:pt>
          <cx:pt idx="1418">2.0979958953390505</cx:pt>
          <cx:pt idx="1419">2.0501500574722282</cx:pt>
          <cx:pt idx="1420">1.9910217030511728</cx:pt>
          <cx:pt idx="1421">2.090550523889632</cx:pt>
          <cx:pt idx="1422">2.0304501485922812</cx:pt>
          <cx:pt idx="1423">1.9811556911477981</cx:pt>
          <cx:pt idx="1424">1.9498270811777805</cx:pt>
          <cx:pt idx="1425">1.9649808944562441</cx:pt>
          <cx:pt idx="1426">1.9700783148404168</cx:pt>
          <cx:pt idx="1427">1.9413845478160379</cx:pt>
          <cx:pt idx="1428">1.9664392941898641</cx:pt>
          <cx:pt idx="1429">1.9784645232410976</cx:pt>
          <cx:pt idx="1430">1.9197881188815422</cx:pt>
          <cx:pt idx="1431">1.8995490257893852</cx:pt>
          <cx:pt idx="1432">1.8775863467886633</cx:pt>
          <cx:pt idx="1433">1.8797686715651216</cx:pt>
          <cx:pt idx="1434">1.8921072976369231</cx:pt>
          <cx:pt idx="1435">1.8791521105017721</cx:pt>
          <cx:pt idx="1436">1.9535452668343196</cx:pt>
          <cx:pt idx="1437">1.9321390452870038</cx:pt>
          <cx:pt idx="1438">1.9788356762522776</cx:pt>
          <cx:pt idx="1439">2.0287584910088441</cx:pt>
          <cx:pt idx="1440">2.0177728047137213</cx:pt>
          <cx:pt idx="1441">2.0267527354541617</cx:pt>
          <cx:pt idx="1442">2.0118378888729054</cx:pt>
          <cx:pt idx="1443">1.971796700210672</cx:pt>
          <cx:pt idx="1444">1.9619436243264217</cx:pt>
          <cx:pt idx="1445">1.9482725043882305</cx:pt>
          <cx:pt idx="1446">1.9262645143169392</cx:pt>
          <cx:pt idx="1447">1.918886381331435</cx:pt>
          <cx:pt idx="1448">1.9014962280918226</cx:pt>
          <cx:pt idx="1449">1.9253728255055971</cx:pt>
          <cx:pt idx="1450">1.8875306310238786</cx:pt>
          <cx:pt idx="1451">1.875638201170527</cx:pt>
          <cx:pt idx="1452">1.8910720660648856</cx:pt>
          <cx:pt idx="1453">1.9347994820685344</cx:pt>
          <cx:pt idx="1454">1.9341556211340425</cx:pt>
          <cx:pt idx="1455">2.0460579537909065</cx:pt>
          <cx:pt idx="1456">2.1152676936501962</cx:pt>
          <cx:pt idx="1457">2.1056612489427207</cx:pt>
          <cx:pt idx="1458">2.1718277298765889</cx:pt>
          <cx:pt idx="1459">2.0975639770634733</cx:pt>
          <cx:pt idx="1460">2.1237318367912037</cx:pt>
          <cx:pt idx="1461">2.1053852233247343</cx:pt>
          <cx:pt idx="1462">2.1837311587622712</cx:pt>
          <cx:pt idx="1463">2.1686235105083775</cx:pt>
          <cx:pt idx="1464">2.1669057008462707</cx:pt>
          <cx:pt idx="1465">2.1214961965904777</cx:pt>
          <cx:pt idx="1466">2.082770509596676</cx:pt>
          <cx:pt idx="1467">2.1181555970670911</cx:pt>
          <cx:pt idx="1468">2.1934385887910044</cx:pt>
          <cx:pt idx="1469">2.1436219951645805</cx:pt>
          <cx:pt idx="1470">2.1355747800029432</cx:pt>
          <cx:pt idx="1471">2.1588013696892823</cx:pt>
          <cx:pt idx="1472">2.1526406814636747</cx:pt>
          <cx:pt idx="1473">2.1465629954659957</cx:pt>
          <cx:pt idx="1474">2.1474073654799017</cx:pt>
          <cx:pt idx="1475">2.1869579408625452</cx:pt>
          <cx:pt idx="1476">2.1913517681464643</cx:pt>
          <cx:pt idx="1477">2.2012896214518811</cx:pt>
          <cx:pt idx="1478">2.1908066723038329</cx:pt>
          <cx:pt idx="1479">2.0955742083673314</cx:pt>
          <cx:pt idx="1480">2.1226749320065013</cx:pt>
          <cx:pt idx="1481">2.2098806258932795</cx:pt>
          <cx:pt idx="1482">2.2187458219239886</cx:pt>
          <cx:pt idx="1483">2.1477885476940255</cx:pt>
          <cx:pt idx="1484">2.1856045672236952</cx:pt>
          <cx:pt idx="1485">2.1945676692583955</cx:pt>
          <cx:pt idx="1486">2.0768034553605768</cx:pt>
          <cx:pt idx="1487">1.9915741824402231</cx:pt>
          <cx:pt idx="1488">1.9932640499727792</cx:pt>
          <cx:pt idx="1489">1.9269967894828799</cx:pt>
          <cx:pt idx="1490">1.9335370996722858</cx:pt>
          <cx:pt idx="1491">1.9137417630830544</cx:pt>
          <cx:pt idx="1492">1.8932647556992235</cx:pt>
          <cx:pt idx="1493">1.7969044345666385</cx:pt>
          <cx:pt idx="1494">1.7727667238761284</cx:pt>
          <cx:pt idx="1495">1.7863126828686839</cx:pt>
          <cx:pt idx="1496">1.7849717738770325</cx:pt>
          <cx:pt idx="1497">1.8012697319652189</cx:pt>
          <cx:pt idx="1498">1.7554035857508568</cx:pt>
          <cx:pt idx="1499">1.7285144479429517</cx:pt>
          <cx:pt idx="1500">1.7238721477329197</cx:pt>
          <cx:pt idx="1501">1.6283302319170032</cx:pt>
          <cx:pt idx="1502">1.7543504974268709</cx:pt>
          <cx:pt idx="1503">1.7511151694338494</cx:pt>
          <cx:pt idx="1504">1.7587379445380651</cx:pt>
          <cx:pt idx="1505">1.7656887615404944</cx:pt>
          <cx:pt idx="1506">1.7421739290643012</cx:pt>
          <cx:pt idx="1507">1.7440875226799746</cx:pt>
          <cx:pt idx="1508">1.7616695505793776</cx:pt>
          <cx:pt idx="1509">1.8808295909612569</cx:pt>
          <cx:pt idx="1510">1.8823229757260664</cx:pt>
          <cx:pt idx="1511">1.8244073281468205</cx:pt>
          <cx:pt idx="1512">1.7177472594601688</cx:pt>
          <cx:pt idx="1513">1.7053326953659047</cx:pt>
          <cx:pt idx="1514">1.7738433461924046</cx:pt>
          <cx:pt idx="1515">1.6938674338618518</cx:pt>
          <cx:pt idx="1516">1.762481305910353</cx:pt>
          <cx:pt idx="1517">1.7896448688988469</cx:pt>
          <cx:pt idx="1518">1.8059124634998855</cx:pt>
          <cx:pt idx="1519">1.823779847367184</cx:pt>
          <cx:pt idx="1520">1.8903177885912179</cx:pt>
          <cx:pt idx="1521">1.8931614902934784</cx:pt>
          <cx:pt idx="1522">1.892356202410332</cx:pt>
          <cx:pt idx="1523">1.8939334037050919</cx:pt>
          <cx:pt idx="1524">1.9332850390950362</cx:pt>
          <cx:pt idx="1525">1.9650791195191006</cx:pt>
          <cx:pt idx="1526">1.9657361786098995</cx:pt>
          <cx:pt idx="1527">1.9709721415574848</cx:pt>
          <cx:pt idx="1528">1.9422827946662635</cx:pt>
          <cx:pt idx="1529">1.8945637289613841</cx:pt>
          <cx:pt idx="1530">1.9099686107884355</cx:pt>
          <cx:pt idx="1531">1.8759588324167518</cx:pt>
          <cx:pt idx="1532">1.8990757175065172</cx:pt>
          <cx:pt idx="1533">1.8698561065118904</cx:pt>
          <cx:pt idx="1534">1.862450138654111</cx:pt>
          <cx:pt idx="1535">1.9167489656582095</cx:pt>
          <cx:pt idx="1536">1.9464172073077191</cx:pt>
          <cx:pt idx="1537">1.9011847648703324</cx:pt>
          <cx:pt idx="1538">1.8647767533462256</cx:pt>
          <cx:pt idx="1539">1.8983006520781318</cx:pt>
          <cx:pt idx="1540">1.8746818563588585</cx:pt>
          <cx:pt idx="1541">1.9239045431142701</cx:pt>
          <cx:pt idx="1542">2.0019146615858241</cx:pt>
          <cx:pt idx="1543">2.0479002213985935</cx:pt>
          <cx:pt idx="1544">2.0660963027614963</cx:pt>
          <cx:pt idx="1545">2.0161812317067302</cx:pt>
          <cx:pt idx="1546">2.0812412814191341</cx:pt>
          <cx:pt idx="1547">2.0329147934776337</cx:pt>
          <cx:pt idx="1548">1.9998483902369133</cx:pt>
          <cx:pt idx="1549">2.0449925404162546</cx:pt>
          <cx:pt idx="1550">2.0805378383038931</cx:pt>
          <cx:pt idx="1551">2.1185084850829661</cx:pt>
          <cx:pt idx="1552">2.2116031477349591</cx:pt>
          <cx:pt idx="1553">2.2627550526582025</cx:pt>
          <cx:pt idx="1554">2.2618767377923459</cx:pt>
          <cx:pt idx="1555">2.2620785132734182</cx:pt>
          <cx:pt idx="1556">2.2987010809492943</cx:pt>
          <cx:pt idx="1557">2.293300432310148</cx:pt>
          <cx:pt idx="1558">2.3136994212725215</cx:pt>
          <cx:pt idx="1559">2.3532672776255414</cx:pt>
          <cx:pt idx="1560">2.4451525866767243</cx:pt>
          <cx:pt idx="1561">2.4842175962808444</cx:pt>
          <cx:pt idx="1562">2.4829420720141404</cx:pt>
          <cx:pt idx="1563">2.4756118532212339</cx:pt>
          <cx:pt idx="1564">2.4048741938051275</cx:pt>
          <cx:pt idx="1565">2.4718033464506028</cx:pt>
          <cx:pt idx="1566">2.5165569569596418</cx:pt>
          <cx:pt idx="1567">2.5046503269845637</cx:pt>
          <cx:pt idx="1568">2.5315072438410757</cx:pt>
          <cx:pt idx="1569">2.5265330816359972</cx:pt>
          <cx:pt idx="1570">2.5741058932987939</cx:pt>
          <cx:pt idx="1571">2.6075824059331936</cx:pt>
          <cx:pt idx="1572">2.5546607711315645</cx:pt>
          <cx:pt idx="1573">2.5077859385709393</cx:pt>
          <cx:pt idx="1574">2.5109278271735898</cx:pt>
          <cx:pt idx="1575">2.511657632858002</cx:pt>
          <cx:pt idx="1576">2.5390410755287625</cx:pt>
          <cx:pt idx="1577">2.5140113540048725</cx:pt>
          <cx:pt idx="1578">2.528719882158609</cx:pt>
          <cx:pt idx="1579">2.5339773370303993</cx:pt>
          <cx:pt idx="1580">2.4958256449617799</cx:pt>
          <cx:pt idx="1581">2.5207018808451624</cx:pt>
          <cx:pt idx="1582">2.4839251079812983</cx:pt>
          <cx:pt idx="1583">2.4885847979588762</cx:pt>
          <cx:pt idx="1584">2.4521058076015674</cx:pt>
          <cx:pt idx="1585">2.4755195263347005</cx:pt>
          <cx:pt idx="1586">2.4264496794170483</cx:pt>
          <cx:pt idx="1587">2.364504239494412</cx:pt>
          <cx:pt idx="1588">2.380619339671064</cx:pt>
          <cx:pt idx="1589">2.3844603404666147</cx:pt>
          <cx:pt idx="1590">2.393206267588547</cx:pt>
          <cx:pt idx="1591">2.367036880137495</cx:pt>
          <cx:pt idx="1592">2.3041654351281631</cx:pt>
          <cx:pt idx="1593">2.3241015784945298</cx:pt>
          <cx:pt idx="1594">2.318401346629237</cx:pt>
          <cx:pt idx="1595">2.3510234190742261</cx:pt>
          <cx:pt idx="1596">2.317833220871611</cx:pt>
          <cx:pt idx="1597">2.286302215204326</cx:pt>
          <cx:pt idx="1598">2.2999220677704444</cx:pt>
          <cx:pt idx="1599">2.2919717003716191</cx:pt>
          <cx:pt idx="1600">2.2773865827314426</cx:pt>
          <cx:pt idx="1601">2.2641513270255507</cx:pt>
          <cx:pt idx="1602">2.1809245481746311</cx:pt>
          <cx:pt idx="1603">2.1892728626037621</cx:pt>
          <cx:pt idx="1604">2.165314742042598</cx:pt>
          <cx:pt idx="1605">2.1559449942178399</cx:pt>
          <cx:pt idx="1606">2.152596096502724</cx:pt>
          <cx:pt idx="1607">2.0725653758521601</cx:pt>
          <cx:pt idx="1608">2.0232290062760692</cx:pt>
          <cx:pt idx="1609">1.9168750673931805</cx:pt>
          <cx:pt idx="1610">1.9278585951766642</cx:pt>
          <cx:pt idx="1611">1.8427337420755554</cx:pt>
          <cx:pt idx="1612">1.9246591400749644</cx:pt>
          <cx:pt idx="1613">1.8507178794545183</cx:pt>
          <cx:pt idx="1614">1.9205230485159315</cx:pt>
          <cx:pt idx="1615">1.8448253120241056</cx:pt>
          <cx:pt idx="1616">1.9397977341122115</cx:pt>
          <cx:pt idx="1617">1.9557755114633368</cx:pt>
          <cx:pt idx="1618">1.9503066633340158</cx:pt>
          <cx:pt idx="1619">1.9532133495080242</cx:pt>
          <cx:pt idx="1620">1.9613061370131404</cx:pt>
          <cx:pt idx="1621">1.8931964134064878</cx:pt>
          <cx:pt idx="1622">1.8931964134064878</cx:pt>
          <cx:pt idx="1623">1.9024396540603228</cx:pt>
          <cx:pt idx="1624">1.8784257841718932</cx:pt>
          <cx:pt idx="1625">1.8857561942267884</cx:pt>
          <cx:pt idx="1626">1.9081202205701264</cx:pt>
          <cx:pt idx="1627">1.9329154379096123</cx:pt>
          <cx:pt idx="1628">1.8815079480394186</cx:pt>
          <cx:pt idx="1629">1.9238670364515134</cx:pt>
          <cx:pt idx="1630">1.9172707504530935</cx:pt>
          <cx:pt idx="1631">1.9149202998381092</cx:pt>
          <cx:pt idx="1632">1.9285631711437345</cx:pt>
          <cx:pt idx="1633">1.919984559610892</cx:pt>
          <cx:pt idx="1634">1.9212107027325156</cx:pt>
          <cx:pt idx="1635">1.9197303492628186</cx:pt>
          <cx:pt idx="1636">1.8906109246835623</cx:pt>
          <cx:pt idx="1637">1.8440993439816762</cx:pt>
          <cx:pt idx="1638">1.9207949197172194</cx:pt>
          <cx:pt idx="1639">1.9031187133518768</cx:pt>
          <cx:pt idx="1640">1.8857196253121722</cx:pt>
          <cx:pt idx="1641">1.8541275668182513</cx:pt>
          <cx:pt idx="1642">1.8736117642877217</cx:pt>
          <cx:pt idx="1643">1.8186998284562617</cx:pt>
          <cx:pt idx="1644">1.9102123969349769</cx:pt>
          <cx:pt idx="1645">1.8284254934085322</cx:pt>
          <cx:pt idx="1646">1.8446430278282901</cx:pt>
          <cx:pt idx="1647">1.7819382727300443</cx:pt>
          <cx:pt idx="1648">1.8289110604218182</cx:pt>
          <cx:pt idx="1649">1.8713367841298436</cx:pt>
          <cx:pt idx="1650">1.8712167317628334</cx:pt>
          <cx:pt idx="1651">1.8849971495937898</cx:pt>
          <cx:pt idx="1652">1.9165918832172324</cx:pt>
          <cx:pt idx="1653">1.8848085665246428</cx:pt>
          <cx:pt idx="1654">1.8876353343337313</cx:pt>
          <cx:pt idx="1655">1.9587343323788442</cx:pt>
          <cx:pt idx="1656">1.9977573848091497</cx:pt>
          <cx:pt idx="1657">1.9276867442944865</cx:pt>
          <cx:pt idx="1658">1.9438079656357961</cx:pt>
          <cx:pt idx="1659">1.9986269169127309</cx:pt>
          <cx:pt idx="1660">1.9951792963980997</cx:pt>
          <cx:pt idx="1661">1.9895293317011196</cx:pt>
          <cx:pt idx="1662">1.9921466714168454</cx:pt>
          <cx:pt idx="1663">2.0020476499074089</cx:pt>
          <cx:pt idx="1664">2.0875161386811896</cx:pt>
          <cx:pt idx="1665">2.1343770218691831</cx:pt>
          <cx:pt idx="1666">2.2023278443238876</cx:pt>
          <cx:pt idx="1667">2.1698875498577848</cx:pt>
          <cx:pt idx="1668">2.1792216547084271</cx:pt>
          <cx:pt idx="1669">2.1304650583779465</cx:pt>
          <cx:pt idx="1670">2.3147082633928662</cx:pt>
          <cx:pt idx="1671">2.3160035383360293</cx:pt>
          <cx:pt idx="1672">2.3191095837692246</cx:pt>
          <cx:pt idx="1673">2.4016279025370979</cx:pt>
          <cx:pt idx="1674">2.4895627502200863</cx:pt>
          <cx:pt idx="1675">2.4397640442236876</cx:pt>
          <cx:pt idx="1676">2.4973276039179031</cx:pt>
          <cx:pt idx="1677">2.4589724387527134</cx:pt>
          <cx:pt idx="1678">2.5667838390946276</cx:pt>
          <cx:pt idx="1679">2.546696108325377</cx:pt>
          <cx:pt idx="1680">2.6433778669700865</cx:pt>
          <cx:pt idx="1681">2.6458503262976016</cx:pt>
          <cx:pt idx="1682">2.7189121770740958</cx:pt>
          <cx:pt idx="1683">2.7249298506269879</cx:pt>
          <cx:pt idx="1684">2.7772105798474329</cx:pt>
          <cx:pt idx="1685">2.7418151222138629</cx:pt>
          <cx:pt idx="1686">2.7265299738011497</cx:pt>
          <cx:pt idx="1687">2.7229482821702748</cx:pt>
          <cx:pt idx="1688">2.6975505212207542</cx:pt>
          <cx:pt idx="1689">2.7037366969703336</cx:pt>
          <cx:pt idx="1690">2.5422557753428068</cx:pt>
          <cx:pt idx="1691">2.5770114824985826</cx:pt>
          <cx:pt idx="1692">2.5467004352155569</cx:pt>
          <cx:pt idx="1693">2.546335275646022</cx:pt>
          <cx:pt idx="1694">2.5428779027081529</cx:pt>
          <cx:pt idx="1695">2.3785429639005056</cx:pt>
          <cx:pt idx="1696">2.1984452792333391</cx:pt>
          <cx:pt idx="1697">1.9756574226935089</cx:pt>
          <cx:pt idx="1698">1.9702470094475255</cx:pt>
          <cx:pt idx="1699">1.8252585641740791</cx:pt>
          <cx:pt idx="1700">1.6710972124743375</cx:pt>
          <cx:pt idx="1701">1.6557755946059016</cx:pt>
          <cx:pt idx="1702">1.6313652344630556</cx:pt>
          <cx:pt idx="1703">1.5842665964779727</cx:pt>
          <cx:pt idx="1704">1.6755361261020081</cx:pt>
          <cx:pt idx="1705">1.6699300850443661</cx:pt>
          <cx:pt idx="1706">1.6798693630893211</cx:pt>
          <cx:pt idx="1707">1.6852480942732901</cx:pt>
          <cx:pt idx="1708">1.6094550896483424</cx:pt>
          <cx:pt idx="1709">1.6071038866038363</cx:pt>
          <cx:pt idx="1710">1.6496721760569313</cx:pt>
          <cx:pt idx="1711">1.6332859076497461</cx:pt>
          <cx:pt idx="1712">1.5968955931471467</cx:pt>
          <cx:pt idx="1713">1.6166887133290568</cx:pt>
          <cx:pt idx="1714">1.8581053751542946</cx:pt>
          <cx:pt idx="1715">1.824673844732708</cx:pt>
          <cx:pt idx="1716">1.8134240781053768</cx:pt>
          <cx:pt idx="1717">1.7937870797403304</cx:pt>
          <cx:pt idx="1718">1.9238239860308828</cx:pt>
          <cx:pt idx="1719">1.9068487508283123</cx:pt>
          <cx:pt idx="1720">2.0425520408108562</cx:pt>
          <cx:pt idx="1721">2.0603616668365223</cx:pt>
          <cx:pt idx="1722">2.0316381423073051</cx:pt>
          <cx:pt idx="1723">2.1979942869876834</cx:pt>
          <cx:pt idx="1724">2.3479120545133569</cx:pt>
          <cx:pt idx="1725">2.4149647494234694</cx:pt>
          <cx:pt idx="1726">2.3622268148399614</cx:pt>
          <cx:pt idx="1727">2.3524992146383914</cx:pt>
          <cx:pt idx="1728">2.282657329158333</cx:pt>
          <cx:pt idx="1729">2.2047078877184489</cx:pt>
          <cx:pt idx="1730">2.1660613828227988</cx:pt>
          <cx:pt idx="1731">2.3082054320869134</cx:pt>
          <cx:pt idx="1732">2.3676906352565394</cx:pt>
          <cx:pt idx="1733">2.3674456108517541</cx:pt>
          <cx:pt idx="1734">2.3874118165346565</cx:pt>
          <cx:pt idx="1735">2.4031026480686442</cx:pt>
          <cx:pt idx="1736">2.3482815791954836</cx:pt>
          <cx:pt idx="1737">2.3376047534374456</cx:pt>
          <cx:pt idx="1738">2.2863759087373148</cx:pt>
          <cx:pt idx="1739">2.2441783844751328</cx:pt>
          <cx:pt idx="1740">2.3153595992325049</cx:pt>
          <cx:pt idx="1741">2.4128718186474676</cx:pt>
          <cx:pt idx="1742">2.4729703462839843</cx:pt>
          <cx:pt idx="1743">2.3701000424710821</cx:pt>
          <cx:pt idx="1744">2.4103805544952168</cx:pt>
          <cx:pt idx="1745">2.3611758002509573</cx:pt>
          <cx:pt idx="1746">2.3179233942554909</cx:pt>
          <cx:pt idx="1747">2.3069470732377759</cx:pt>
          <cx:pt idx="1748">2.2578982102244618</cx:pt>
          <cx:pt idx="1749">2.248422138965803</cx:pt>
          <cx:pt idx="1750">2.1748593816103887</cx:pt>
          <cx:pt idx="1751">2.1698605201659911</cx:pt>
          <cx:pt idx="1752">2.1803908658162241</cx:pt>
          <cx:pt idx="1753">2.1622567210643937</cx:pt>
          <cx:pt idx="1754">2.1402749079905004</cx:pt>
          <cx:pt idx="1755">2.0793514564254982</cx:pt>
          <cx:pt idx="1756">2.077097825629004</cx:pt>
          <cx:pt idx="1757">2.0995046239212902</cx:pt>
          <cx:pt idx="1758">2.0485503237322273</cx:pt>
          <cx:pt idx="1759">2.0542393737350118</cx:pt>
          <cx:pt idx="1760">2.025873342790915</cx:pt>
          <cx:pt idx="1761">1.9005138051900912</cx:pt>
          <cx:pt idx="1762">1.9460822477001904</cx:pt>
          <cx:pt idx="1763">1.8832382569748165</cx:pt>
          <cx:pt idx="1764">1.9163233110401272</cx:pt>
          <cx:pt idx="1765">1.9153898783819765</cx:pt>
          <cx:pt idx="1766">1.8869582381487799</cx:pt>
          <cx:pt idx="1767">1.887277134570142</cx:pt>
          <cx:pt idx="1768">1.8955882402315227</cx:pt>
          <cx:pt idx="1769">1.8096548829385846</cx:pt>
          <cx:pt idx="1770">1.7778212397305913</cx:pt>
          <cx:pt idx="1771">1.7937555716762952</cx:pt>
          <cx:pt idx="1772">1.7270389305165563</cx:pt>
          <cx:pt idx="1773">1.7017080195941203</cx:pt>
          <cx:pt idx="1774">1.8380811340630632</cx:pt>
          <cx:pt idx="1775">1.8588218573161572</cx:pt>
          <cx:pt idx="1776">1.8700505693127865</cx:pt>
          <cx:pt idx="1777">1.8563679159879543</cx:pt>
          <cx:pt idx="1778">1.9353105227623786</cx:pt>
          <cx:pt idx="1779">1.9469715721280672</cx:pt>
          <cx:pt idx="1780">1.9616174770524029</cx:pt>
          <cx:pt idx="1781">2.0401046142999211</cx:pt>
          <cx:pt idx="1782">2.0535022741156808</cx:pt>
          <cx:pt idx="1783">2.1085041486695957</cx:pt>
          <cx:pt idx="1784">2.0385505293978361</cx:pt>
          <cx:pt idx="1785">2.083379702674232</cx:pt>
          <cx:pt idx="1786">2.0721887108795967</cx:pt>
          <cx:pt idx="1787">2.127608064403109</cx:pt>
          <cx:pt idx="1788">2.0960272264897806</cx:pt>
          <cx:pt idx="1789">2.2052126349821144</cx:pt>
          <cx:pt idx="1790">2.256418513711457</cx:pt>
          <cx:pt idx="1791">2.2545601172543726</cx:pt>
          <cx:pt idx="1792">2.2554048751397673</cx:pt>
          <cx:pt idx="1793">2.2401431953316089</cx:pt>
          <cx:pt idx="1794">2.2340846218471628</cx:pt>
          <cx:pt idx="1795">2.2770522289318635</cx:pt>
          <cx:pt idx="1796">2.2719646814441621</cx:pt>
          <cx:pt idx="1797">2.2378237133446115</cx:pt>
          <cx:pt idx="1798">2.2346565419503848</cx:pt>
          <cx:pt idx="1799">2.3081935741522148</cx:pt>
          <cx:pt idx="1800">2.3574879050441755</cx:pt>
          <cx:pt idx="1801">2.3935915210576759</cx:pt>
          <cx:pt idx="1802">2.3364233896607911</cx:pt>
          <cx:pt idx="1803">2.3986531663315276</cx:pt>
          <cx:pt idx="1804">2.3742597568612291</cx:pt>
          <cx:pt idx="1805">2.3177950341465894</cx:pt>
          <cx:pt idx="1806">2.2793667241779674</cx:pt>
          <cx:pt idx="1807">2.288141355917138</cx:pt>
          <cx:pt idx="1808">2.3041299530380193</cx:pt>
          <cx:pt idx="1809">2.2053767214705915</cx:pt>
          <cx:pt idx="1810">2.2493787169135042</cx:pt>
          <cx:pt idx="1811">2.280063545521585</cx:pt>
          <cx:pt idx="1812">2.2377554101708022</cx:pt>
          <cx:pt idx="1813">2.233782296165657</cx:pt>
          <cx:pt idx="1814">2.1894785690922749</cx:pt>
          <cx:pt idx="1815">2.1884896372576814</cx:pt>
          <cx:pt idx="1816">2.1514960416592444</cx:pt>
          <cx:pt idx="1817">2.2347079200952633</cx:pt>
          <cx:pt idx="1818">2.2446139212698735</cx:pt>
          <cx:pt idx="1819">2.3115529396494292</cx:pt>
          <cx:pt idx="1820">2.1725114311371883</cx:pt>
          <cx:pt idx="1821">2.131784572889408</cx:pt>
          <cx:pt idx="1822">2.1509525788256059</cx:pt>
          <cx:pt idx="1823">2.0835223339133555</cx:pt>
          <cx:pt idx="1824">2.0069108362342187</cx:pt>
          <cx:pt idx="1825">2.0074371629985186</cx:pt>
          <cx:pt idx="1826">1.9744469082807667</cx:pt>
          <cx:pt idx="1827">2.0142247187077023</cx:pt>
          <cx:pt idx="1828">2.1155251233647179</cx:pt>
          <cx:pt idx="1829">2.125110396450733</cx:pt>
          <cx:pt idx="1830">2.1109093182386376</cx:pt>
          <cx:pt idx="1831">2.0528521815867493</cx:pt>
          <cx:pt idx="1832">1.9956447736856424</cx:pt>
          <cx:pt idx="1833">2.0503891384188644</cx:pt>
          <cx:pt idx="1834">2.09506680000234</cx:pt>
          <cx:pt idx="1835">2.1001749725043708</cx:pt>
          <cx:pt idx="1836">2.0493840825346448</cx:pt>
          <cx:pt idx="1837">2.0392184290304511</cx:pt>
          <cx:pt idx="1838">2.0693027909661379</cx:pt>
          <cx:pt idx="1839">2.1143608949597246</cx:pt>
          <cx:pt idx="1840">2.132076520393174</cx:pt>
          <cx:pt idx="1841">2.0579773929683705</cx:pt>
          <cx:pt idx="1842">1.9723697033041336</cx:pt>
          <cx:pt idx="1843">1.9747817367165066</cx:pt>
          <cx:pt idx="1844">2.0052914981899885</cx:pt>
          <cx:pt idx="1845">2.0070944995747073</cx:pt>
          <cx:pt idx="1846">2.0354021260250281</cx:pt>
          <cx:pt idx="1847">2.0581506272052885</cx:pt>
          <cx:pt idx="1848">2.0033365929532208</cx:pt>
          <cx:pt idx="1849">2.0016628651048731</cx:pt>
          <cx:pt idx="1850">1.8737889539615353</cx:pt>
          <cx:pt idx="1851">1.9183279769011587</cx:pt>
          <cx:pt idx="1852">1.934427597671162</cx:pt>
          <cx:pt idx="1853">1.9534661140404608</cx:pt>
          <cx:pt idx="1854">1.9643943361685812</cx:pt>
          <cx:pt idx="1855">1.9668110898928064</cx:pt>
          <cx:pt idx="1856">1.9654732366502123</cx:pt>
          <cx:pt idx="1857">2.017878677047515</cx:pt>
          <cx:pt idx="1858">1.9529585501365596</cx:pt>
          <cx:pt idx="1859">1.9544959415402212</cx:pt>
          <cx:pt idx="1860">1.9833781873448553</cx:pt>
          <cx:pt idx="1861">1.9661514973813521</cx:pt>
          <cx:pt idx="1862">1.9282512870110493</cx:pt>
          <cx:pt idx="1863">1.9432920258230095</cx:pt>
          <cx:pt idx="1864">1.9332151696607698</cx:pt>
          <cx:pt idx="1865">1.925728184647195</cx:pt>
          <cx:pt idx="1866">2.0901827120281657</cx:pt>
          <cx:pt idx="1867">2.0788985661163157</cx:pt>
          <cx:pt idx="1868">2.079709390522368</cx:pt>
          <cx:pt idx="1869">1.9864372619455164</cx:pt>
          <cx:pt idx="1870">2.113245646519692</cx:pt>
          <cx:pt idx="1871">2.116806260882687</cx:pt>
          <cx:pt idx="1872">2.1601096634451094</cx:pt>
          <cx:pt idx="1873">2.1731329249086335</cx:pt>
          <cx:pt idx="1874">2.1806893462985459</cx:pt>
          <cx:pt idx="1875">2.153420603785924</cx:pt>
          <cx:pt idx="1876">2.2859438193264614</cx:pt>
          <cx:pt idx="1877">2.221537131873935</cx:pt>
          <cx:pt idx="1878">2.2255410508427023</cx:pt>
          <cx:pt idx="1879">2.3128051039117716</cx:pt>
          <cx:pt idx="1880">2.33230851801253</cx:pt>
          <cx:pt idx="1881">2.3789976808190807</cx:pt>
          <cx:pt idx="1882">2.3446087269829516</cx:pt>
          <cx:pt idx="1883">2.2667372872569564</cx:pt>
          <cx:pt idx="1884">2.1590615113499974</cx:pt>
          <cx:pt idx="1885">2.0921193318441236</cx:pt>
          <cx:pt idx="1886">1.9352144603514974</cx:pt>
          <cx:pt idx="1887">1.9299288213525962</cx:pt>
          <cx:pt idx="1888">1.6052869639286105</cx:pt>
          <cx:pt idx="1889">1.652282082232857</cx:pt>
          <cx:pt idx="1890">1.6630798336259789</cx:pt>
          <cx:pt idx="1891">1.6664666724403965</cx:pt>
          <cx:pt idx="1892">1.6289317493121607</cx:pt>
          <cx:pt idx="1893">1.6419552558205619</cx:pt>
          <cx:pt idx="1894">1.6740470376916408</cx:pt>
          <cx:pt idx="1895">1.7420341609342518</cx:pt>
          <cx:pt idx="1896">1.7493523194952112</cx:pt>
          <cx:pt idx="1897">1.7111430868933728</cx:pt>
          <cx:pt idx="1898">1.6794147842612641</cx:pt>
          <cx:pt idx="1899">1.6395589526000343</cx:pt>
          <cx:pt idx="1900">1.6655176346649947</cx:pt>
          <cx:pt idx="1901">1.7141666688807367</cx:pt>
          <cx:pt idx="1902">1.8060555544550705</cx:pt>
          <cx:pt idx="1903">1.9457918053013508</cx:pt>
          <cx:pt idx="1904">1.9457918053013501</cx:pt>
          <cx:pt idx="1905">2.256347622670408</cx:pt>
          <cx:pt idx="1906">2.2312827229044019</cx:pt>
          <cx:pt idx="1907">2.2366560776454958</cx:pt>
          <cx:pt idx="1908">2.368896470483651</cx:pt>
          <cx:pt idx="1909">2.5198906229128393</cx:pt>
          <cx:pt idx="1910">2.5231208467747095</cx:pt>
          <cx:pt idx="1911">2.549004925180268</cx:pt>
          <cx:pt idx="1912">2.4980508530684737</cx:pt>
          <cx:pt idx="1913">2.4401117927635378</cx:pt>
          <cx:pt idx="1914">2.5273099992328838</cx:pt>
          <cx:pt idx="1915">2.5297588986523172</cx:pt>
          <cx:pt idx="1916">2.5195472546541144</cx:pt>
          <cx:pt idx="1917">2.5208818115832416</cx:pt>
          <cx:pt idx="1918">2.5269883170839456</cx:pt>
          <cx:pt idx="1919">2.6339056192247545</cx:pt>
          <cx:pt idx="1920">2.6028186431948805</cx:pt>
          <cx:pt idx="1921">2.6351995272608795</cx:pt>
          <cx:pt idx="1922">2.5704390378032711</cx:pt>
          <cx:pt idx="1923">2.4557745013162759</cx:pt>
          <cx:pt idx="1924">2.5228824642057592</cx:pt>
          <cx:pt idx="1925">2.4077671347772083</cx:pt>
          <cx:pt idx="1926">2.4543881778655052</cx:pt>
          <cx:pt idx="1927">2.4305512728419862</cx:pt>
          <cx:pt idx="1928">2.4031554540107205</cx:pt>
          <cx:pt idx="1929">2.2787866828889767</cx:pt>
          <cx:pt idx="1930">2.1579319727472193</cx:pt>
          <cx:pt idx="1931">2.1870967427368422</cx:pt>
          <cx:pt idx="1932">2.2268968102978102</cx:pt>
          <cx:pt idx="1933">2.2685280463382007</cx:pt>
          <cx:pt idx="1934">2.2621707519885801</cx:pt>
          <cx:pt idx="1935">2.2246053810896234</cx:pt>
          <cx:pt idx="1936">2.2274030723724372</cx:pt>
          <cx:pt idx="1937">2.2203657341982419</cx:pt>
          <cx:pt idx="1938">2.2693596163929275</cx:pt>
          <cx:pt idx="1939">2.3228802940682303</cx:pt>
          <cx:pt idx="1940">2.2833023957127274</cx:pt>
          <cx:pt idx="1941">2.2780005295241295</cx:pt>
          <cx:pt idx="1942">2.3361117885187781</cx:pt>
          <cx:pt idx="1943">2.3652012264775886</cx:pt>
          <cx:pt idx="1944">2.3360758786852034</cx:pt>
          <cx:pt idx="1945">2.2730905672491932</cx:pt>
          <cx:pt idx="1946">2.2960930656690399</cx:pt>
          <cx:pt idx="1947">2.296263196799782</cx:pt>
          <cx:pt idx="1948">2.2874114092792315</cx:pt>
          <cx:pt idx="1949">2.2487308742363141</cx:pt>
          <cx:pt idx="1950">2.2132139937998234</cx:pt>
          <cx:pt idx="1951">2.1611390501619483</cx:pt>
          <cx:pt idx="1952">2.0623771355006357</cx:pt>
          <cx:pt idx="1953">2.0581470003168754</cx:pt>
          <cx:pt idx="1954">2.0268472654289202</cx:pt>
          <cx:pt idx="1955">2.0721300437793184</cx:pt>
          <cx:pt idx="1956">2.0772306208848335</cx:pt>
          <cx:pt idx="1957">2.0203806502974442</cx:pt>
          <cx:pt idx="1958">2.0342168547213308</cx:pt>
          <cx:pt idx="1959">1.9879906031543013</cx:pt>
          <cx:pt idx="1960">2.0084619707966826</cx:pt>
          <cx:pt idx="1961">2.0010323470901525</cx:pt>
          <cx:pt idx="1962">1.9830014314102307</cx:pt>
          <cx:pt idx="1963">2.0049241789401089</cx:pt>
          <cx:pt idx="1964">2.0456119413755629</cx:pt>
          <cx:pt idx="1965">2.0573404633847745</cx:pt>
          <cx:pt idx="1966">2.0585640505977025</cx:pt>
          <cx:pt idx="1967">2.0486079309648417</cx:pt>
          <cx:pt idx="1968">1.9891980578058854</cx:pt>
          <cx:pt idx="1969">1.9810017420216539</cx:pt>
          <cx:pt idx="1970">1.8677065440872305</cx:pt>
          <cx:pt idx="1971">1.8877296753276851</cx:pt>
          <cx:pt idx="1972">1.9084383747256017</cx:pt>
          <cx:pt idx="1973">1.8905009334662051</cx:pt>
          <cx:pt idx="1974">1.9992030759209722</cx:pt>
          <cx:pt idx="1975">1.9644200311615518</cx:pt>
          <cx:pt idx="1976">1.9752932305516333</cx:pt>
          <cx:pt idx="1977">1.9464995685883226</cx:pt>
          <cx:pt idx="1978">1.9691851654789634</cx:pt>
          <cx:pt idx="1979">1.9860431884609302</cx:pt>
          <cx:pt idx="1980">1.9853719023616017</cx:pt>
          <cx:pt idx="1981">1.9622488852886577</cx:pt>
          <cx:pt idx="1982">2.0174213251043684</cx:pt>
          <cx:pt idx="1983">2.0178587713588652</cx:pt>
          <cx:pt idx="1984">2.0361621880528475</cx:pt>
          <cx:pt idx="1985">2.0555426260298209</cx:pt>
          <cx:pt idx="1986">1.9222524481353611</cx:pt>
          <cx:pt idx="1987">1.9328271644857236</cx:pt>
          <cx:pt idx="1988">1.9649461617672663</cx:pt>
          <cx:pt idx="1989">1.9656822910326324</cx:pt>
          <cx:pt idx="1990">1.8543514743394205</cx:pt>
          <cx:pt idx="1991">1.8135199275666931</cx:pt>
          <cx:pt idx="1992">1.94348682245569</cx:pt>
          <cx:pt idx="1993">1.874463411474385</cx:pt>
          <cx:pt idx="1994">1.9010559395345239</cx:pt>
          <cx:pt idx="1995">1.933526436943716</cx:pt>
          <cx:pt idx="1996">1.9240251876667698</cx:pt>
          <cx:pt idx="1997">1.915431819322829</cx:pt>
          <cx:pt idx="1998">1.856609358901695</cx:pt>
          <cx:pt idx="1999">1.9047450418824219</cx:pt>
          <cx:pt idx="2000">1.8864099795270715</cx:pt>
          <cx:pt idx="2001">1.9960941154575225</cx:pt>
          <cx:pt idx="2002">1.9900064907208639</cx:pt>
          <cx:pt idx="2003">1.9692371521336982</cx:pt>
          <cx:pt idx="2004">1.9497908023963466</cx:pt>
          <cx:pt idx="2005">1.8662182244342018</cx:pt>
          <cx:pt idx="2006">1.8442419777261763</cx:pt>
          <cx:pt idx="2007">1.9210728585227055</cx:pt>
          <cx:pt idx="2008">2.0411441930914687</cx:pt>
          <cx:pt idx="2009">2.0550516249467128</cx:pt>
          <cx:pt idx="2010">2.0464474184170633</cx:pt>
          <cx:pt idx="2011">2.0783171353264538</cx:pt>
          <cx:pt idx="2012">2.0801325416281156</cx:pt>
          <cx:pt idx="2013">2.0310078291132911</cx:pt>
          <cx:pt idx="2014">2.0814472471938341</cx:pt>
          <cx:pt idx="2015">2.1364880477906816</cx:pt>
          <cx:pt idx="2016">2.1332552416170061</cx:pt>
          <cx:pt idx="2017">2.134861933471214</cx:pt>
          <cx:pt idx="2018">2.1680535178271776</cx:pt>
          <cx:pt idx="2019">2.1895191560928073</cx:pt>
          <cx:pt idx="2020">2.2113234678819467</cx:pt>
          <cx:pt idx="2021">2.2810849261734845</cx:pt>
          <cx:pt idx="2022">2.278751741565757</cx:pt>
          <cx:pt idx="2023">2.2639203753882176</cx:pt>
          <cx:pt idx="2024">2.2727111631882631</cx:pt>
          <cx:pt idx="2025">2.3230974276221117</cx:pt>
          <cx:pt idx="2026">2.3146044503680439</cx:pt>
          <cx:pt idx="2027">2.3155109678834802</cx:pt>
          <cx:pt idx="2028">2.3257161216578117</cx:pt>
          <cx:pt idx="2029">2.3270316957295369</cx:pt>
          <cx:pt idx="2030">2.2378472218617174</cx:pt>
          <cx:pt idx="2031">2.2401814363304879</cx:pt>
          <cx:pt idx="2032">2.2728473868552972</cx:pt>
          <cx:pt idx="2033">2.2553413598448513</cx:pt>
          <cx:pt idx="2034">2.2569362658470493</cx:pt>
          <cx:pt idx="2035">2.3045163698539297</cx:pt>
          <cx:pt idx="2036">2.3064269853064334</cx:pt>
          <cx:pt idx="2037">2.3069698773731493</cx:pt>
          <cx:pt idx="2038">2.159939340426785</cx:pt>
          <cx:pt idx="2039">2.1461123633247374</cx:pt>
          <cx:pt idx="2040">2.1843278169921447</cx:pt>
          <cx:pt idx="2041">2.2105131610293527</cx:pt>
          <cx:pt idx="2042">2.2720973516090468</cx:pt>
          <cx:pt idx="2043">2.2819854440532836</cx:pt>
          <cx:pt idx="2044">2.2870323604365943</cx:pt>
          <cx:pt idx="2045">2.2891457782775646</cx:pt>
          <cx:pt idx="2046">2.1536866769145839</cx:pt>
          <cx:pt idx="2047">2.0470328655960457</cx:pt>
          <cx:pt idx="2048">2.0940292075864613</cx:pt>
          <cx:pt idx="2049">2.0028872787419445</cx:pt>
          <cx:pt idx="2050">1.981066158088324</cx:pt>
          <cx:pt idx="2051">2.0221738893968793</cx:pt>
          <cx:pt idx="2052">2.0179304661492807</cx:pt>
          <cx:pt idx="2053">2.0437065627695161</cx:pt>
          <cx:pt idx="2054">2.1236134989864337</cx:pt>
          <cx:pt idx="2055">2.1060255136073658</cx:pt>
          <cx:pt idx="2056">2.1432037500082886</cx:pt>
          <cx:pt idx="2057">2.1373443808612982</cx:pt>
          <cx:pt idx="2058">2.1371537816272492</cx:pt>
          <cx:pt idx="2059">2.1321347050377835</cx:pt>
          <cx:pt idx="2060">2.1547541051614516</cx:pt>
          <cx:pt idx="2061">2.190825817848554</cx:pt>
          <cx:pt idx="2062">2.226452379497343</cx:pt>
          <cx:pt idx="2063">2.158669475770937</cx:pt>
          <cx:pt idx="2064">2.121617668256607</cx:pt>
          <cx:pt idx="2065">2.1202762353797637</cx:pt>
          <cx:pt idx="2066">2.0605153795238764</cx:pt>
          <cx:pt idx="2067">2.0991248340369202</cx:pt>
          <cx:pt idx="2068">2.0831831421913125</cx:pt>
          <cx:pt idx="2069">2.2016509804917925</cx:pt>
          <cx:pt idx="2070">2.2004216653174939</cx:pt>
          <cx:pt idx="2071">2.1269450249298938</cx:pt>
          <cx:pt idx="2072">2.1177199014717427</cx:pt>
          <cx:pt idx="2073">2.03337373017402</cx:pt>
          <cx:pt idx="2074">2.0473533925481684</cx:pt>
          <cx:pt idx="2075">2.0279011777465312</cx:pt>
          <cx:pt idx="2076">2.0192795091493356</cx:pt>
          <cx:pt idx="2077">2.0231158588598466</cx:pt>
          <cx:pt idx="2078">2.06634007561573</cx:pt>
          <cx:pt idx="2079">2.0352917511302815</cx:pt>
          <cx:pt idx="2080">1.9807578750394492</cx:pt>
          <cx:pt idx="2081">1.9262512278429251</cx:pt>
          <cx:pt idx="2082">1.9168930547587191</cx:pt>
          <cx:pt idx="2083">1.8341192017547416</cx:pt>
          <cx:pt idx="2084">1.8803655596384306</cx:pt>
          <cx:pt idx="2085">1.8718685690846819</cx:pt>
          <cx:pt idx="2086">1.9763557496643458</cx:pt>
          <cx:pt idx="2087">1.924699216876899</cx:pt>
          <cx:pt idx="2088">1.9571761150520246</cx:pt>
          <cx:pt idx="2089">1.97418242568637</cx:pt>
          <cx:pt idx="2090">1.9574746742496574</cx:pt>
          <cx:pt idx="2091">1.9240052347253864</cx:pt>
          <cx:pt idx="2092">1.8179559977066122</cx:pt>
          <cx:pt idx="2093">1.7906198316499988</cx:pt>
          <cx:pt idx="2094">1.8512528991796005</cx:pt>
          <cx:pt idx="2095">1.8661791774361531</cx:pt>
          <cx:pt idx="2096">1.8739096002963016</cx:pt>
          <cx:pt idx="2097">1.9577319724976898</cx:pt>
          <cx:pt idx="2098">1.8973047714835984</cx:pt>
          <cx:pt idx="2099">1.9337904141039335</cx:pt>
          <cx:pt idx="2100">1.8571197129872297</cx:pt>
          <cx:pt idx="2101">1.8375150034963776</cx:pt>
          <cx:pt idx="2102">1.861655242442414</cx:pt>
          <cx:pt idx="2103">1.8792752497493888</cx:pt>
          <cx:pt idx="2104">1.8580296177000515</cx:pt>
          <cx:pt idx="2105">1.8373076171920557</cx:pt>
          <cx:pt idx="2106">1.8425747867702351</cx:pt>
          <cx:pt idx="2107">1.8864989175248548</cx:pt>
          <cx:pt idx="2108">1.9135209040056631</cx:pt>
          <cx:pt idx="2109">1.8674103836389098</cx:pt>
          <cx:pt idx="2110">1.9125493042992729</cx:pt>
          <cx:pt idx="2111">1.9536919184778345</cx:pt>
          <cx:pt idx="2112">2.0246872334554133</cx:pt>
          <cx:pt idx="2113">1.9780681426138875</cx:pt>
          <cx:pt idx="2114">2.0485664608613243</cx:pt>
          <cx:pt idx="2115">1.9987439404226255</cx:pt>
          <cx:pt idx="2116">1.939652047829427</cx:pt>
          <cx:pt idx="2117">1.8923813728437884</cx:pt>
          <cx:pt idx="2118">1.9471512138152909</cx:pt>
          <cx:pt idx="2119">1.9203081523500916</cx:pt>
          <cx:pt idx="2120">1.9973897478144582</cx:pt>
          <cx:pt idx="2121">2.0015358894220321</cx:pt>
          <cx:pt idx="2122">1.994595915888661</cx:pt>
          <cx:pt idx="2123">2.0327846988602536</cx:pt>
          <cx:pt idx="2124">2.0971643437989784</cx:pt>
          <cx:pt idx="2125">2.0778498206959122</cx:pt>
          <cx:pt idx="2126">2.1300458985854891</cx:pt>
          <cx:pt idx="2127">2.1310969794293011</cx:pt>
          <cx:pt idx="2128">2.0581608170004397</cx:pt>
          <cx:pt idx="2129">2.067070877760421</cx:pt>
          <cx:pt idx="2130">2.0667104108108836</cx:pt>
          <cx:pt idx="2131">2.019300104959544</cx:pt>
          <cx:pt idx="2132">2.0542969944663261</cx:pt>
          <cx:pt idx="2133">2.0936249946104017</cx:pt>
          <cx:pt idx="2134">2.1486906687092664</cx:pt>
          <cx:pt idx="2135">2.1393223828373911</cx:pt>
          <cx:pt idx="2136">2.1601266127305472</cx:pt>
          <cx:pt idx="2137">2.2014491563480241</cx:pt>
          <cx:pt idx="2138">2.1905616594603372</cx:pt>
          <cx:pt idx="2139">2.1592970936175702</cx:pt>
          <cx:pt idx="2140">2.1502405322187834</cx:pt>
          <cx:pt idx="2141">2.171396419363353</cx:pt>
          <cx:pt idx="2142">2.1362511149419721</cx:pt>
          <cx:pt idx="2143">2.0557276506057058</cx:pt>
          <cx:pt idx="2144">2.061910518050817</cx:pt>
          <cx:pt idx="2145">2.0450052292426939</cx:pt>
          <cx:pt idx="2146">2.0985889814690162</cx:pt>
          <cx:pt idx="2147">2.1469277709413124</cx:pt>
          <cx:pt idx="2148">2.1616679480859053</cx:pt>
          <cx:pt idx="2149">2.0789337887571313</cx:pt>
          <cx:pt idx="2150">2.0609767937443202</cx:pt>
          <cx:pt idx="2151">2.0105991251581097</cx:pt>
          <cx:pt idx="2152">2.0896062922448708</cx:pt>
          <cx:pt idx="2153">2.1954665974180894</cx:pt>
          <cx:pt idx="2154">2.1913952401904195</cx:pt>
          <cx:pt idx="2155">2.1757171132526354</cx:pt>
          <cx:pt idx="2156">2.2145323567405648</cx:pt>
          <cx:pt idx="2157">2.1425277848388671</cx:pt>
          <cx:pt idx="2158">2.1401503429957258</cx:pt>
          <cx:pt idx="2159">2.1860060817691425</cx:pt>
          <cx:pt idx="2160">2.285037861216471</cx:pt>
          <cx:pt idx="2161">2.2822173711178904</cx:pt>
          <cx:pt idx="2162">2.2713874447566154</cx:pt>
          <cx:pt idx="2163">2.2919765081413574</cx:pt>
          <cx:pt idx="2164">2.2926650007085834</cx:pt>
          <cx:pt idx="2165">2.263194239329402</cx:pt>
          <cx:pt idx="2166">2.2868354291691122</cx:pt>
          <cx:pt idx="2167">2.2718144794544539</cx:pt>
          <cx:pt idx="2168">2.2541317061146864</cx:pt>
          <cx:pt idx="2169">2.1825407731422799</cx:pt>
          <cx:pt idx="2170">2.1862216885492547</cx:pt>
          <cx:pt idx="2171">2.2239757351951233</cx:pt>
          <cx:pt idx="2172">2.2384000773425687</cx:pt>
          <cx:pt idx="2173">2.2390077273092026</cx:pt>
          <cx:pt idx="2174">2.254783514691586</cx:pt>
          <cx:pt idx="2175">2.3617002371826015</cx:pt>
          <cx:pt idx="2176">2.3636885474350771</cx:pt>
          <cx:pt idx="2177">2.3381270279340858</cx:pt>
          <cx:pt idx="2178">2.2961958579595767</cx:pt>
          <cx:pt idx="2179">2.2294985586406035</cx:pt>
          <cx:pt idx="2180">2.2375196687839729</cx:pt>
          <cx:pt idx="2181">2.29143735472443</cx:pt>
          <cx:pt idx="2182">2.3178711002543833</cx:pt>
          <cx:pt idx="2183">2.2624438319603097</cx:pt>
          <cx:pt idx="2184">2.2202791232304255</cx:pt>
          <cx:pt idx="2185">2.1701797766638968</cx:pt>
          <cx:pt idx="2186">2.2177430138223131</cx:pt>
          <cx:pt idx="2187">2.1518218222093952</cx:pt>
          <cx:pt idx="2188">2.2623171948293264</cx:pt>
          <cx:pt idx="2189">2.2965893365260484</cx:pt>
          <cx:pt idx="2190">2.2504689914762239</cx:pt>
          <cx:pt idx="2191">2.1698952491629209</cx:pt>
          <cx:pt idx="2192">2.1286264501537051</cx:pt>
          <cx:pt idx="2193">2.1392178683026657</cx:pt>
          <cx:pt idx="2194">2.8294162603442055</cx:pt>
          <cx:pt idx="2195">2.8611806255659751</cx:pt>
          <cx:pt idx="2196">2.9797497773216337</cx:pt>
          <cx:pt idx="2197">3.1806764604301416</cx:pt>
          <cx:pt idx="2198">3.2382507925032558</cx:pt>
          <cx:pt idx="2199">3.2047708371065213</cx:pt>
          <cx:pt idx="2200">3.3337102070784694</cx:pt>
          <cx:pt idx="2201">3.4846983689882638</cx:pt>
          <cx:pt idx="2202">3.5068319655425153</cx:pt>
          <cx:pt idx="2203">3.6262490807727974</cx:pt>
          <cx:pt idx="2204">4.0780613721754744</cx:pt>
          <cx:pt idx="2205">4.3180792291152699</cx:pt>
          <cx:pt idx="2206">4.4857989534703062</cx:pt>
          <cx:pt idx="2207">4.4400930592937842</cx:pt>
          <cx:pt idx="2208">4.5128722359495264</cx:pt>
          <cx:pt idx="2209">4.5207687050465832</cx:pt>
          <cx:pt idx="2210">4.7019718452987398</cx:pt>
          <cx:pt idx="2211">4.9757334532915767</cx:pt>
          <cx:pt idx="2212">4.9711026312379882</cx:pt>
          <cx:pt idx="2213">5.0795107000851365</cx:pt>
          <cx:pt idx="2214">5.3183600575022396</cx:pt>
          <cx:pt idx="2215">5.3818649439198527</cx:pt>
          <cx:pt idx="2216">5.5596094525361579</cx:pt>
          <cx:pt idx="2217">5.8393494462169508</cx:pt>
          <cx:pt idx="2218">6.1339100413127099</cx:pt>
          <cx:pt idx="2219">6.2186813036458028</cx:pt>
          <cx:pt idx="2220">6.3625341874734129</cx:pt>
          <cx:pt idx="2221">6.3309384781156446</cx:pt>
          <cx:pt idx="2222">6.4516628150561983</cx:pt>
          <cx:pt idx="2223">6.6114259288434365</cx:pt>
          <cx:pt idx="2224">6.5948283894143893</cx:pt>
          <cx:pt idx="2225">6.4888252485206008</cx:pt>
          <cx:pt idx="2226">6.6205338327580527</cx:pt>
          <cx:pt idx="2227">6.8321972079521949</cx:pt>
          <cx:pt idx="2228">6.8035430208227465</cx:pt>
          <cx:pt idx="2229">6.8144357777040385</cx:pt>
          <cx:pt idx="2230">6.8775420043819837</cx:pt>
          <cx:pt idx="2231">6.7979380672155312</cx:pt>
          <cx:pt idx="2232">6.6493202033324046</cx:pt>
          <cx:pt idx="2233">6.6962575312564621</cx:pt>
          <cx:pt idx="2234">6.723849595382136</cx:pt>
          <cx:pt idx="2235">6.770346947988946</cx:pt>
          <cx:pt idx="2236">6.820698290901654</cx:pt>
          <cx:pt idx="2237">6.6177808628932198</cx:pt>
          <cx:pt idx="2238">6.6980924824993586</cx:pt>
          <cx:pt idx="2239">6.5307236212770814</cx:pt>
          <cx:pt idx="2240">6.5054999733407834</cx:pt>
          <cx:pt idx="2241">6.4973038314452021</cx:pt>
          <cx:pt idx="2242">6.5397068823316484</cx:pt>
          <cx:pt idx="2243">6.5019532505362205</cx:pt>
          <cx:pt idx="2244">6.5497584959103516</cx:pt>
          <cx:pt idx="2245">6.0601330998249869</cx:pt>
          <cx:pt idx="2246">13.86566875156117</cx:pt>
          <cx:pt idx="2247">18.101948934568274</cx:pt>
          <cx:pt idx="2248">21.497464716736058</cx:pt>
          <cx:pt idx="2249">24.246330428210833</cx:pt>
          <cx:pt idx="2250">26.506688575413975</cx:pt>
          <cx:pt idx="2251">28.45674049228899</cx:pt>
          <cx:pt idx="2252">29.958897083180386</cx:pt>
          <cx:pt idx="2253">31.366616079572591</cx:pt>
          <cx:pt idx="2254">32.607383893899836</cx:pt>
          <cx:pt idx="2255">33.453517398883704</cx:pt>
          <cx:pt idx="2256">34.09636089610467</cx:pt>
          <cx:pt idx="2257">34.247136796284828</cx:pt>
          <cx:pt idx="2258">34.197619296609709</cx:pt>
          <cx:pt idx="2259">33.977365558578171</cx:pt>
          <cx:pt idx="2260">33.813870619365943</cx:pt>
          <cx:pt idx="2261">33.776837180806062</cx:pt>
          <cx:pt idx="2262">34.212981094281787</cx:pt>
          <cx:pt idx="2263">34.614175655558689</cx:pt>
          <cx:pt idx="2264">34.906807191511241</cx:pt>
          <cx:pt idx="2265">35.2269779396741</cx:pt>
          <cx:pt idx="2266">35.718260713602355</cx:pt>
          <cx:pt idx="2267">35.998189039830017</cx:pt>
          <cx:pt idx="2268">36.504700493103293</cx:pt>
          <cx:pt idx="2269">36.84160263005451</cx:pt>
          <cx:pt idx="2270">37.123036619635414</cx:pt>
          <cx:pt idx="2271">37.44530850615498</cx:pt>
          <cx:pt idx="2272">37.628975148518265</cx:pt>
          <cx:pt idx="2273">38.068017561688784</cx:pt>
          <cx:pt idx="2274">38.457124626664253</cx:pt>
          <cx:pt idx="2275">38.910918549085935</cx:pt>
          <cx:pt idx="2276">39.099456357161472</cx:pt>
          <cx:pt idx="2277">39.032029466440548</cx:pt>
          <cx:pt idx="2278">38.879795029884143</cx:pt>
          <cx:pt idx="2279">38.505884454874952</cx:pt>
          <cx:pt idx="2280">37.966267712914544</cx:pt>
          <cx:pt idx="2281">37.293822426093925</cx:pt>
          <cx:pt idx="2282">36.383058439854096</cx:pt>
          <cx:pt idx="2283">35.311129582464282</cx:pt>
          <cx:pt idx="2284">34.052889146440457</cx:pt>
          <cx:pt idx="2285">32.572013912053912</cx:pt>
          <cx:pt idx="2286">30.736286773527862</cx:pt>
          <cx:pt idx="2287">28.586692616617139</cx:pt>
          <cx:pt idx="2288">26.031060489208595</cx:pt>
          <cx:pt idx="2289">22.96522578395254</cx:pt>
          <cx:pt idx="2290">19.130342850960822</cx:pt>
          <cx:pt idx="2291">13.838092050970248</cx:pt>
          <cx:pt idx="2292">1.9995725127425235</cx:pt>
          <cx:pt idx="2293">1.9990746993110968</cx:pt>
          <cx:pt idx="2294">2.0182702331077347</cx:pt>
          <cx:pt idx="2295">2.0367676948662536</cx:pt>
          <cx:pt idx="2296">2.0536487112976203</cx:pt>
          <cx:pt idx="2297">2.0801183582318306</cx:pt>
          <cx:pt idx="2298">2.0814790112455497</cx:pt>
          <cx:pt idx="2299">1.998506151426068</cx:pt>
          <cx:pt idx="2300">2.0601477266132275</cx:pt>
          <cx:pt idx="2301">2.1090905720160174</cx:pt>
          <cx:pt idx="2302">2.1610365776683276</cx:pt>
          <cx:pt idx="2303">2.1239130967673203</cx:pt>
          <cx:pt idx="2304">2.1023140864072469</cx:pt>
          <cx:pt idx="2305">2.0336125111177328</cx:pt>
          <cx:pt idx="2306">1.9506228569108737</cx:pt>
          <cx:pt idx="2307">2.0240573899427674</cx:pt>
          <cx:pt idx="2308">2.0318713541167135</cx:pt>
          <cx:pt idx="2309">2.1139842785373637</cx:pt>
          <cx:pt idx="2310">2.1885952095762424</cx:pt>
          <cx:pt idx="2311">2.252372743004432</cx:pt>
          <cx:pt idx="2312">2.2519055587867096</cx:pt>
          <cx:pt idx="2313">2.2850174827497605</cx:pt>
          <cx:pt idx="2314">2.3026782670696999</cx:pt>
          <cx:pt idx="2315">2.3597390231450581</cx:pt>
          <cx:pt idx="2316">2.34412914273911</cx:pt>
          <cx:pt idx="2317">2.329987724747971</cx:pt>
          <cx:pt idx="2318">2.2832379439631829</cx:pt>
          <cx:pt idx="2319">2.2751403806992627</cx:pt>
          <cx:pt idx="2320">2.2681101096060301</cx:pt>
          <cx:pt idx="2321">2.2603107944673302</cx:pt>
          <cx:pt idx="2322">2.2702079487249844</cx:pt>
          <cx:pt idx="2323">2.2881955721207481</cx:pt>
          <cx:pt idx="2324">2.2985657709138807</cx:pt>
          <cx:pt idx="2325">2.2766302362005288</cx:pt>
          <cx:pt idx="2326">2.2507739715649766</cx:pt>
          <cx:pt idx="2327">2.2491843362914996</cx:pt>
          <cx:pt idx="2328">2.2426850393905022</cx:pt>
          <cx:pt idx="2329">2.281731839331016</cx:pt>
          <cx:pt idx="2330">2.2721294228328865</cx:pt>
          <cx:pt idx="2331">2.2046387197975803</cx:pt>
          <cx:pt idx="2332">2.2090971442735294</cx:pt>
          <cx:pt idx="2333">2.1530651831171448</cx:pt>
          <cx:pt idx="2334">2.1584550692081717</cx:pt>
          <cx:pt idx="2335">2.1459410949863367</cx:pt>
          <cx:pt idx="2336">2.1948044610475139</cx:pt>
          <cx:pt idx="2337">2.1898337610025207</cx:pt>
          <cx:pt idx="2338">2.1415203254196653</cx:pt>
          <cx:pt idx="2339">2.1464134576918132</cx:pt>
          <cx:pt idx="2340">2.1391512355443827</cx:pt>
          <cx:pt idx="2341">2.1408053076230615</cx:pt>
          <cx:pt idx="2342">2.1174707963832566</cx:pt>
          <cx:pt idx="2343">2.1585736376814952</cx:pt>
          <cx:pt idx="2344">2.131468404172236</cx:pt>
          <cx:pt idx="2345">2.1125560572857287</cx:pt>
          <cx:pt idx="2346">2.1088122983133095</cx:pt>
          <cx:pt idx="2347">2.1858860742136224</cx:pt>
          <cx:pt idx="2348">2.1467058994622681</cx:pt>
          <cx:pt idx="2349">2.2093420322370254</cx:pt>
          <cx:pt idx="2350">2.2110252644787924</cx:pt>
          <cx:pt idx="2351">2.2526345447610803</cx:pt>
          <cx:pt idx="2352">2.2412163928890796</cx:pt>
          <cx:pt idx="2353">2.232016851834421</cx:pt>
          <cx:pt idx="2354">2.2386733576392648</cx:pt>
          <cx:pt idx="2355">2.1969530454082964</cx:pt>
          <cx:pt idx="2356">2.1632062133506182</cx:pt>
          <cx:pt idx="2357">2.2215299315619719</cx:pt>
          <cx:pt idx="2358">2.2005092194010412</cx:pt>
          <cx:pt idx="2359">2.2253870765844681</cx:pt>
          <cx:pt idx="2360">2.1173187002971288</cx:pt>
          <cx:pt idx="2361">2.1264176874829768</cx:pt>
          <cx:pt idx="2362">2.1658109446344436</cx:pt>
          <cx:pt idx="2363">2.1178870741697726</cx:pt>
          <cx:pt idx="2364">2.0925681717362403</cx:pt>
          <cx:pt idx="2365">2.0922209323472671</cx:pt>
          <cx:pt idx="2366">2.0866768336147676</cx:pt>
          <cx:pt idx="2367">2.151404179809917</cx:pt>
          <cx:pt idx="2368">2.1509715833391923</cx:pt>
          <cx:pt idx="2369">2.1287455111746696</cx:pt>
          <cx:pt idx="2370">2.1408498060624561</cx:pt>
          <cx:pt idx="2371">2.1418238909087837</cx:pt>
          <cx:pt idx="2372">2.0625822276115278</cx:pt>
          <cx:pt idx="2373">2.0949123986166818</cx:pt>
          <cx:pt idx="2374">2.0432228077051695</cx:pt>
          <cx:pt idx="2375">1.9975548903236771</cx:pt>
          <cx:pt idx="2376">1.9719861575304904</cx:pt>
          <cx:pt idx="2377">1.9566640635355177</cx:pt>
          <cx:pt idx="2378">1.8982212555312614</cx:pt>
          <cx:pt idx="2379">1.8864644357056097</cx:pt>
          <cx:pt idx="2380">1.8360502234411538</cx:pt>
          <cx:pt idx="2381">1.7455645126649519</cx:pt>
          <cx:pt idx="2382">1.7291082493967957</cx:pt>
          <cx:pt idx="2383">1.762315515503432</cx:pt>
          <cx:pt idx="2384">1.7431220159220784</cx:pt>
          <cx:pt idx="2385">1.6668697645737409</cx:pt>
          <cx:pt idx="2386">1.6677979986798765</cx:pt>
          <cx:pt idx="2387">1.6702859484944026</cx:pt>
          <cx:pt idx="2388">1.6432768056273754</cx:pt>
          <cx:pt idx="2389">1.626794219635685</cx:pt>
          <cx:pt idx="2390">1.5414452047072265</cx:pt>
          <cx:pt idx="2391">1.5952181275403952</cx:pt>
          <cx:pt idx="2392">1.5709614958131999</cx:pt>
          <cx:pt idx="2393">1.5343660627215743</cx:pt>
          <cx:pt idx="2394">1.5479340856458721</cx:pt>
          <cx:pt idx="2395">1.5657158190862328</cx:pt>
          <cx:pt idx="2396">1.5691458581141864</cx:pt>
          <cx:pt idx="2397">1.5963987868546208</cx:pt>
          <cx:pt idx="2398">1.5179745262778566</cx:pt>
          <cx:pt idx="2399">1.5428944928211921</cx:pt>
          <cx:pt idx="2400">1.5753483303572955</cx:pt>
          <cx:pt idx="2401">1.5690940026925095</cx:pt>
          <cx:pt idx="2402">1.4505740746851299</cx:pt>
          <cx:pt idx="2403">1.4851938815524623</cx:pt>
          <cx:pt idx="2404">1.3743727265463883</cx:pt>
          <cx:pt idx="2405">1.4113961353195745</cx:pt>
          <cx:pt idx="2406">1.4482920388682989</cx:pt>
          <cx:pt idx="2407">1.4928601750290116</cx:pt>
          <cx:pt idx="2408">1.4830683516066234</cx:pt>
          <cx:pt idx="2409">1.4129919467700967</cx:pt>
          <cx:pt idx="2410">1.447789003242937</cx:pt>
          <cx:pt idx="2411">1.388004493447049</cx:pt>
          <cx:pt idx="2412">1.4491731020445606</cx:pt>
          <cx:pt idx="2413">1.3845297449226237</cx:pt>
          <cx:pt idx="2414">1.239947272198648</cx:pt>
          <cx:pt idx="2415">1.3147604501666101</cx:pt>
          <cx:pt idx="2416">1.3891806593702467</cx:pt>
          <cx:pt idx="2417">1.4974621059500599</cx:pt>
          <cx:pt idx="2418">1.6321325771245687</cx:pt>
          <cx:pt idx="2419">1.4966298227839341</cx:pt>
          <cx:pt idx="2420">1.6961713490031158</cx:pt>
          <cx:pt idx="2421">2.0003580946638095</cx:pt>
          <cx:pt idx="2422">1.1699403106904707</cx:pt>
        </cx:lvl>
      </cx:numDim>
    </cx:data>
  </cx:chartData>
  <cx:chart>
    <cx:title pos="t" align="ctr" overlay="0">
      <cx:tx>
        <cx:txData>
          <cx:v>ROLLING STANDARD DEVIATION (PUMP FAILURE =0)</cx:v>
        </cx:txData>
      </cx:tx>
      <cx:txPr>
        <a:bodyPr spcFirstLastPara="1" vertOverflow="ellipsis" horzOverflow="overflow" wrap="square" lIns="0" tIns="0" rIns="0" bIns="0" anchor="ctr" anchorCtr="1"/>
        <a:lstStyle/>
        <a:p>
          <a:pPr algn="ctr" rtl="0">
            <a:defRPr/>
          </a:pPr>
          <a:r>
            <a:rPr lang="en-US" sz="1400" b="1" i="0" u="none" strike="noStrike" cap="all" spc="150" baseline="0" dirty="0">
              <a:solidFill>
                <a:sysClr val="windowText" lastClr="000000">
                  <a:lumMod val="50000"/>
                  <a:lumOff val="50000"/>
                </a:sysClr>
              </a:solidFill>
              <a:latin typeface="Calibri" panose="020F0502020204030204"/>
            </a:rPr>
            <a:t>ROLLING STANDARD DEVIATION (PUMP FAILURE =0)</a:t>
          </a:r>
        </a:p>
      </cx:txPr>
    </cx:title>
    <cx:plotArea>
      <cx:plotAreaRegion>
        <cx:series layoutId="boxWhisker" uniqueId="{67DCDF43-72CF-4BF3-A266-428FA640A8D9}" formatIdx="0">
          <cx:tx>
            <cx:txData>
              <cx:f>'Data Repository Table'!$C$1</cx:f>
              <cx:v>Volumetric Flow Meter 1</cx:v>
            </cx:txData>
          </cx:tx>
          <cx:dataId val="0"/>
          <cx:layoutPr>
            <cx:visibility meanLine="0" meanMarker="0" nonoutliers="0" outliers="1"/>
            <cx:statistics quartileMethod="exclusive"/>
          </cx:layoutPr>
        </cx:series>
        <cx:series layoutId="boxWhisker" uniqueId="{13F222C3-B776-4FD2-A36D-270D6D92F4F2}" formatIdx="1">
          <cx:tx>
            <cx:txData>
              <cx:f>'Data Repository Table'!$D$1</cx:f>
              <cx:v>Volumetric Flow Meter 2</cx:v>
            </cx:txData>
          </cx:tx>
          <cx:dataId val="1"/>
          <cx:layoutPr>
            <cx:visibility meanLine="0" meanMarker="0" nonoutliers="0" outliers="1"/>
            <cx:statistics quartileMethod="exclusive"/>
          </cx:layoutPr>
        </cx:series>
        <cx:series layoutId="boxWhisker" uniqueId="{9E5B0A74-3E2B-4A4A-9ECC-08147BF214FC}" formatIdx="2">
          <cx:tx>
            <cx:txData>
              <cx:f>'Data Repository Table'!$E$1</cx:f>
              <cx:v>Pump Speed (RPM)</cx:v>
            </cx:txData>
          </cx:tx>
          <cx:dataId val="2"/>
          <cx:layoutPr>
            <cx:visibility meanLine="0" meanMarker="0" nonoutliers="0" outliers="1"/>
            <cx:statistics quartileMethod="exclusive"/>
          </cx:layoutPr>
        </cx:series>
        <cx:series layoutId="boxWhisker" uniqueId="{E477E5C7-F989-414E-821F-A835FF4F255B}" formatIdx="3">
          <cx:tx>
            <cx:txData>
              <cx:f>'Data Repository Table'!$F$1</cx:f>
              <cx:v>Pump Torque </cx:v>
            </cx:txData>
          </cx:tx>
          <cx:dataId val="3"/>
          <cx:layoutPr>
            <cx:visibility meanLine="0" meanMarker="0" nonoutliers="0" outliers="1"/>
            <cx:statistics quartileMethod="exclusive"/>
          </cx:layoutPr>
        </cx:series>
        <cx:series layoutId="boxWhisker" uniqueId="{99D8B698-D969-4CE4-BE5A-952BF56E6208}" formatIdx="4">
          <cx:tx>
            <cx:txData>
              <cx:f>'Data Repository Table'!$G$1</cx:f>
              <cx:v>Ambient Temperature</cx:v>
            </cx:txData>
          </cx:tx>
          <cx:dataId val="4"/>
          <cx:layoutPr>
            <cx:visibility meanLine="0" meanMarker="0" nonoutliers="0" outliers="1"/>
            <cx:statistics quartileMethod="exclusive"/>
          </cx:layoutPr>
        </cx:series>
        <cx:series layoutId="boxWhisker" uniqueId="{517B8BEF-7451-4726-B7DD-11AE422F82F5}" formatIdx="5">
          <cx:tx>
            <cx:txData>
              <cx:f>'Data Repository Table'!$H$1</cx:f>
              <cx:v>Horse Power</cx:v>
            </cx:txData>
          </cx:tx>
          <cx:dataId val="5"/>
          <cx:layoutPr>
            <cx:visibility meanLine="0" meanMarker="0" nonoutliers="0" outliers="1"/>
            <cx:statistics quartileMethod="exclusive"/>
          </cx:layoutPr>
        </cx:series>
        <cx:series layoutId="boxWhisker" uniqueId="{DEF818B9-52F3-4216-83C6-BDC2C04BAD0C}" formatIdx="6">
          <cx:tx>
            <cx:txData>
              <cx:f>'Data Repository Table'!$I$1</cx:f>
              <cx:v>Pump Efficiency</cx:v>
            </cx:txData>
          </cx:tx>
          <cx:dataId val="6"/>
          <cx:layoutPr>
            <cx:visibility meanLine="0" meanMarker="0" nonoutliers="0" outliers="1"/>
            <cx:statistics quartileMethod="exclusive"/>
          </cx:layoutPr>
        </cx:series>
      </cx:plotAreaRegion>
      <cx:axis id="0" hidden="1">
        <cx:catScaling/>
        <cx:tickLabels/>
      </cx:axis>
      <cx:axis id="1">
        <cx:valScaling/>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407">
  <cs:axisTitle>
    <cs:lnRef idx="0"/>
    <cs:fillRef idx="0"/>
    <cs:effectRef idx="0"/>
    <cs:fontRef idx="minor">
      <a:schemeClr val="tx1">
        <a:lumMod val="65000"/>
        <a:lumOff val="35000"/>
      </a:schemeClr>
    </cs:fontRef>
    <cs:defRPr sz="900" b="1"/>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ln>
        <a:solidFill>
          <a:schemeClr val="phClr"/>
        </a:solidFill>
      </a:ln>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9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cap="all" spc="15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B2C4C2-2D36-4DCE-92DC-7F8FD612207D}" type="datetimeFigureOut">
              <a:rPr lang="en-AU" smtClean="0"/>
              <a:t>23/8/20</a:t>
            </a:fld>
            <a:endParaRPr lang="en-AU"/>
          </a:p>
        </p:txBody>
      </p:sp>
      <p:sp>
        <p:nvSpPr>
          <p:cNvPr id="4" name="Slide Image Placeholder 3"/>
          <p:cNvSpPr>
            <a:spLocks noGrp="1" noRot="1" noChangeAspect="1"/>
          </p:cNvSpPr>
          <p:nvPr>
            <p:ph type="sldImg" idx="2"/>
          </p:nvPr>
        </p:nvSpPr>
        <p:spPr>
          <a:xfrm>
            <a:off x="1373188" y="1143000"/>
            <a:ext cx="41116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A352E8-A3D8-466D-9C64-BEFAB9E6BDD7}" type="slidenum">
              <a:rPr lang="en-AU" smtClean="0"/>
              <a:t>‹#›</a:t>
            </a:fld>
            <a:endParaRPr lang="en-AU"/>
          </a:p>
        </p:txBody>
      </p:sp>
    </p:spTree>
    <p:extLst>
      <p:ext uri="{BB962C8B-B14F-4D97-AF65-F5344CB8AC3E}">
        <p14:creationId xmlns:p14="http://schemas.microsoft.com/office/powerpoint/2010/main" val="2534567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1964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030876" y="132157"/>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noProof="0" dirty="0">
                <a:solidFill>
                  <a:schemeClr val="tx1"/>
                </a:solidFill>
                <a:latin typeface="+mn-lt"/>
                <a:ea typeface="Arial Unicode MS" pitchFamily="34" charset="-128"/>
                <a:cs typeface="Arial Unicode MS" pitchFamily="34" charset="-128"/>
              </a:rPr>
              <a:t>WORKING DRAFT</a:t>
            </a:r>
          </a:p>
        </p:txBody>
      </p:sp>
      <p:sp>
        <p:nvSpPr>
          <p:cNvPr id="7" name="Printed" hidden="1"/>
          <p:cNvSpPr txBox="1">
            <a:spLocks noChangeArrowheads="1"/>
          </p:cNvSpPr>
          <p:nvPr/>
        </p:nvSpPr>
        <p:spPr bwMode="ltGray">
          <a:xfrm>
            <a:off x="4030876" y="436846"/>
            <a:ext cx="218970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noProof="0">
                <a:solidFill>
                  <a:schemeClr val="tx1"/>
                </a:solidFill>
                <a:latin typeface="+mn-lt"/>
                <a:ea typeface="Arial Unicode MS" pitchFamily="34" charset="-128"/>
                <a:cs typeface="Arial Unicode MS" pitchFamily="34" charset="-128"/>
              </a:rPr>
              <a:t>Printed 2/27/2017 7:03 AM Ind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6" name="Working Draft" hidden="1"/>
          <p:cNvSpPr txBox="1">
            <a:spLocks noChangeArrowheads="1"/>
          </p:cNvSpPr>
          <p:nvPr/>
        </p:nvSpPr>
        <p:spPr bwMode="ltGray">
          <a:xfrm>
            <a:off x="4030876" y="277771"/>
            <a:ext cx="2922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800" baseline="0" noProof="0">
                <a:solidFill>
                  <a:schemeClr val="tx1"/>
                </a:solidFill>
                <a:latin typeface="+mn-lt"/>
                <a:ea typeface="Arial Unicode MS" pitchFamily="34" charset="-128"/>
                <a:cs typeface="Arial Unicode MS" pitchFamily="34" charset="-128"/>
              </a:rPr>
              <a:t>Last Modified 10/03/2017 4:54 PM W. Australia Standard Time</a:t>
            </a:r>
            <a:endParaRPr lang="en-US" sz="800" baseline="0" noProof="0" dirty="0">
              <a:solidFill>
                <a:schemeClr val="tx1"/>
              </a:solidFill>
              <a:latin typeface="+mn-lt"/>
              <a:ea typeface="Arial Unicode MS" pitchFamily="34" charset="-128"/>
              <a:cs typeface="Arial Unicode MS" pitchFamily="34" charset="-128"/>
            </a:endParaRPr>
          </a:p>
        </p:txBody>
      </p:sp>
      <p:sp>
        <p:nvSpPr>
          <p:cNvPr id="9" name="Document type" hidden="1"/>
          <p:cNvSpPr txBox="1">
            <a:spLocks noChangeArrowheads="1"/>
          </p:cNvSpPr>
          <p:nvPr/>
        </p:nvSpPr>
        <p:spPr bwMode="ltGray">
          <a:xfrm>
            <a:off x="4030876" y="5305595"/>
            <a:ext cx="476971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tx1"/>
                </a:solidFill>
                <a:latin typeface="+mn-lt"/>
              </a:rPr>
              <a:t>Document type | Date</a:t>
            </a:r>
          </a:p>
        </p:txBody>
      </p:sp>
      <p:sp>
        <p:nvSpPr>
          <p:cNvPr id="19" name="doc id"/>
          <p:cNvSpPr>
            <a:spLocks noChangeArrowheads="1"/>
          </p:cNvSpPr>
          <p:nvPr userDrawn="1">
            <p:custDataLst>
              <p:tags r:id="rId3"/>
            </p:custDataLst>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bg1"/>
              </a:solidFill>
              <a:latin typeface="+mn-lt"/>
              <a:ea typeface="+mn-ea"/>
            </a:endParaRPr>
          </a:p>
        </p:txBody>
      </p:sp>
      <p:sp>
        <p:nvSpPr>
          <p:cNvPr id="13314" name="Rectangle 1026"/>
          <p:cNvSpPr>
            <a:spLocks noGrp="1" noChangeArrowheads="1"/>
          </p:cNvSpPr>
          <p:nvPr>
            <p:ph type="ctrTitle"/>
          </p:nvPr>
        </p:nvSpPr>
        <p:spPr bwMode="ltGray">
          <a:xfrm>
            <a:off x="4030876" y="650494"/>
            <a:ext cx="4769711" cy="984885"/>
          </a:xfrm>
          <a:prstGeom prst="rect">
            <a:avLst/>
          </a:prstGeom>
        </p:spPr>
        <p:txBody>
          <a:bodyPr wrap="square">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ltGray">
          <a:xfrm>
            <a:off x="4030876" y="1887470"/>
            <a:ext cx="4769712" cy="215444"/>
          </a:xfrm>
        </p:spPr>
        <p:txBody>
          <a:bodyPr wrap="square">
            <a:spAutoFit/>
          </a:bodyPr>
          <a:lstStyle>
            <a:lvl1pPr>
              <a:defRPr sz="1400" cap="none"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20" name="Rectangle 19"/>
          <p:cNvSpPr/>
          <p:nvPr userDrawn="1"/>
        </p:nvSpPr>
        <p:spPr bwMode="ltGray">
          <a:xfrm>
            <a:off x="3175" y="6233824"/>
            <a:ext cx="8958263" cy="4876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 name="Rectangle 11"/>
          <p:cNvSpPr/>
          <p:nvPr userDrawn="1"/>
        </p:nvSpPr>
        <p:spPr bwMode="ltGray">
          <a:xfrm>
            <a:off x="0" y="6187568"/>
            <a:ext cx="8961438" cy="4571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1865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448374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013237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1327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chemeClr val="accent6"/>
              </a:solidFill>
              <a:latin typeface="+mn-lt"/>
              <a:ea typeface="+mn-ea"/>
            </a:endParaRPr>
          </a:p>
        </p:txBody>
      </p:sp>
      <p:sp>
        <p:nvSpPr>
          <p:cNvPr id="1034" name="Working Draft" hidden="1"/>
          <p:cNvSpPr txBox="1">
            <a:spLocks noChangeArrowheads="1"/>
          </p:cNvSpPr>
          <p:nvPr/>
        </p:nvSpPr>
        <p:spPr bwMode="auto">
          <a:xfrm rot="5400000">
            <a:off x="7799945" y="1940591"/>
            <a:ext cx="218329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AU" sz="600" baseline="0" noProof="0">
                <a:solidFill>
                  <a:schemeClr val="accent6"/>
                </a:solidFill>
                <a:latin typeface="+mn-lt"/>
                <a:ea typeface="+mn-ea"/>
              </a:rPr>
              <a:t>Last Modified 10/03/2017 4:54 PM W. Australia Standard Time</a:t>
            </a:r>
            <a:endParaRPr lang="en-US" baseline="0" noProof="0" dirty="0">
              <a:solidFill>
                <a:schemeClr val="accent6"/>
              </a:solidFill>
              <a:latin typeface="+mn-lt"/>
              <a:ea typeface="+mn-ea"/>
            </a:endParaRPr>
          </a:p>
        </p:txBody>
      </p:sp>
      <p:sp>
        <p:nvSpPr>
          <p:cNvPr id="1035" name="Printed" hidden="1"/>
          <p:cNvSpPr txBox="1">
            <a:spLocks noChangeArrowheads="1"/>
          </p:cNvSpPr>
          <p:nvPr/>
        </p:nvSpPr>
        <p:spPr bwMode="auto">
          <a:xfrm rot="5400000">
            <a:off x="8074057" y="4114417"/>
            <a:ext cx="163506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Printed 2/27/2017 7:03 AM India Standard Time</a:t>
            </a:r>
            <a:endParaRPr lang="en-US" baseline="0" noProof="0" dirty="0">
              <a:solidFill>
                <a:schemeClr val="accent6"/>
              </a:solidFill>
              <a:latin typeface="+mn-lt"/>
              <a:ea typeface="+mn-ea"/>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1451" y="185145"/>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1450" y="35048"/>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51990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237755"/>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237755"/>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 Sticker" hidden="1"/>
          <p:cNvGrpSpPr/>
          <p:nvPr/>
        </p:nvGrpSpPr>
        <p:grpSpPr bwMode="auto">
          <a:xfrm>
            <a:off x="8064982" y="237755"/>
            <a:ext cx="725006" cy="150811"/>
            <a:chOff x="8015769" y="285750"/>
            <a:chExt cx="725006" cy="150811"/>
          </a:xfrm>
        </p:grpSpPr>
        <p:sp>
          <p:nvSpPr>
            <p:cNvPr id="36"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Slide Number"/>
          <p:cNvSpPr txBox="1">
            <a:spLocks/>
          </p:cNvSpPr>
          <p:nvPr/>
        </p:nvSpPr>
        <p:spPr bwMode="auto">
          <a:xfrm>
            <a:off x="8664954" y="6462552"/>
            <a:ext cx="125034" cy="123111"/>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sz="800" smtClean="0">
                <a:solidFill>
                  <a:schemeClr val="tx1"/>
                </a:solidFill>
              </a:rPr>
              <a:pPr lvl="0" algn="r"/>
              <a:t>‹#›</a:t>
            </a:fld>
            <a:endParaRPr lang="en-US" sz="800" dirty="0">
              <a:solidFill>
                <a:schemeClr val="tx1"/>
              </a:solidFill>
            </a:endParaRPr>
          </a:p>
        </p:txBody>
      </p:sp>
      <p:grpSp>
        <p:nvGrpSpPr>
          <p:cNvPr id="64" name="Moon" hidden="1"/>
          <p:cNvGrpSpPr>
            <a:grpSpLocks noChangeAspect="1"/>
          </p:cNvGrpSpPr>
          <p:nvPr>
            <p:custDataLst>
              <p:tags r:id="rId6"/>
            </p:custDataLst>
          </p:nvPr>
        </p:nvGrpSpPr>
        <p:grpSpPr bwMode="auto">
          <a:xfrm>
            <a:off x="7170608" y="764013"/>
            <a:ext cx="254000" cy="254000"/>
            <a:chOff x="1600" y="1600"/>
            <a:chExt cx="160" cy="160"/>
          </a:xfrm>
        </p:grpSpPr>
        <p:sp>
          <p:nvSpPr>
            <p:cNvPr id="65"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6"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LegendMoons" hidden="1"/>
          <p:cNvGrpSpPr/>
          <p:nvPr/>
        </p:nvGrpSpPr>
        <p:grpSpPr bwMode="auto">
          <a:xfrm>
            <a:off x="7959558" y="237755"/>
            <a:ext cx="830430" cy="1306516"/>
            <a:chOff x="5428012" y="273840"/>
            <a:chExt cx="830430" cy="1306516"/>
          </a:xfrm>
        </p:grpSpPr>
        <p:sp>
          <p:nvSpPr>
            <p:cNvPr id="68"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2"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3"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5"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6"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3" name="Slide Elements" hidden="1"/>
          <p:cNvGrpSpPr/>
          <p:nvPr/>
        </p:nvGrpSpPr>
        <p:grpSpPr bwMode="auto">
          <a:xfrm>
            <a:off x="171450" y="6276179"/>
            <a:ext cx="7277099" cy="309484"/>
            <a:chOff x="171451" y="6321899"/>
            <a:chExt cx="7200000" cy="309484"/>
          </a:xfrm>
        </p:grpSpPr>
        <p:sp>
          <p:nvSpPr>
            <p:cNvPr id="89" name="4. Footnote"/>
            <p:cNvSpPr txBox="1">
              <a:spLocks noChangeArrowheads="1"/>
            </p:cNvSpPr>
            <p:nvPr/>
          </p:nvSpPr>
          <p:spPr bwMode="auto">
            <a:xfrm>
              <a:off x="171451" y="6321899"/>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90" name="5. Source"/>
            <p:cNvSpPr>
              <a:spLocks noChangeArrowheads="1"/>
            </p:cNvSpPr>
            <p:nvPr/>
          </p:nvSpPr>
          <p:spPr bwMode="auto">
            <a:xfrm>
              <a:off x="171451" y="6508272"/>
              <a:ext cx="720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09575" indent="-409575" defTabSz="895350">
                <a:tabLst>
                  <a:tab pos="409575" algn="l"/>
                </a:tabLst>
              </a:pPr>
              <a:r>
                <a:rPr lang="x-none" sz="800" baseline="0" dirty="0">
                  <a:solidFill>
                    <a:schemeClr val="tx1"/>
                  </a:solidFill>
                  <a:latin typeface="+mn-lt"/>
                  <a:ea typeface="+mn-ea"/>
                </a:rPr>
                <a:t>Source : Source</a:t>
              </a:r>
            </a:p>
          </p:txBody>
        </p:sp>
      </p:grpSp>
      <p:sp>
        <p:nvSpPr>
          <p:cNvPr id="62" name="Rectangle 61"/>
          <p:cNvSpPr/>
          <p:nvPr/>
        </p:nvSpPr>
        <p:spPr bwMode="auto">
          <a:xfrm>
            <a:off x="0" y="6674787"/>
            <a:ext cx="8961438"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29404267"/>
      </p:ext>
    </p:extLst>
  </p:cSld>
  <p:clrMap bg1="lt1" tx1="dk1" bg2="lt2" tx2="dk2" accent1="accent1" accent2="accent2" accent3="accent3" accent4="accent4" accent5="accent5" accent6="accent6" hlink="hlink" folHlink="folHlink"/>
  <p:sldLayoutIdLst>
    <p:sldLayoutId id="2147483688" r:id="rId1"/>
    <p:sldLayoutId id="2147483689" r:id="rId2"/>
  </p:sldLayoutIdLst>
  <p:hf hdr="0" ftr="0" dt="0"/>
  <p:txStyles>
    <p:titleStyle>
      <a:lvl1pPr algn="l" defTabSz="895350" rtl="0" eaLnBrk="1" fontAlgn="base" hangingPunct="1">
        <a:spcBef>
          <a:spcPct val="0"/>
        </a:spcBef>
        <a:spcAft>
          <a:spcPct val="0"/>
        </a:spcAft>
        <a:tabLst>
          <a:tab pos="269875" algn="l"/>
        </a:tabLst>
        <a:defRPr sz="2000" b="0"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microsoft.com/office/2014/relationships/chartEx" Target="../charts/chartEx1.xml"/><Relationship Id="rId1" Type="http://schemas.openxmlformats.org/officeDocument/2006/relationships/slideLayout" Target="../slideLayouts/slideLayout2.xml"/><Relationship Id="rId5" Type="http://schemas.openxmlformats.org/officeDocument/2006/relationships/image" Target="../media/image40.png"/><Relationship Id="rId4" Type="http://schemas.microsoft.com/office/2014/relationships/chartEx" Target="../charts/chartEx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23248"/>
          </a:xfrm>
        </p:spPr>
        <p:txBody>
          <a:bodyPr/>
          <a:lstStyle/>
          <a:p>
            <a:pPr algn="just"/>
            <a:r>
              <a:rPr lang="en-GB" sz="1350" b="1" dirty="0"/>
              <a:t>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a:t>
            </a:r>
            <a:endParaRPr lang="en-AU" sz="135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86AAF85-948B-4B7E-9992-F6813CD2E6D1}"/>
              </a:ext>
            </a:extLst>
          </p:cNvPr>
          <p:cNvSpPr/>
          <p:nvPr/>
        </p:nvSpPr>
        <p:spPr>
          <a:xfrm>
            <a:off x="303213" y="1238975"/>
            <a:ext cx="3665537" cy="4524315"/>
          </a:xfrm>
          <a:prstGeom prst="rect">
            <a:avLst/>
          </a:prstGeom>
        </p:spPr>
        <p:txBody>
          <a:bodyPr wrap="square">
            <a:spAutoFit/>
          </a:bodyPr>
          <a:lstStyle/>
          <a:p>
            <a:pPr lvl="0">
              <a:defRPr/>
            </a:pPr>
            <a:r>
              <a:rPr lang="en-AU" sz="1200" b="1" dirty="0"/>
              <a:t>The first slide we want to show is our overall conclusion showcasing that we have been able to effectively create a multivariate regressive equation that models Pump Failure.</a:t>
            </a:r>
          </a:p>
          <a:p>
            <a:pPr lvl="0">
              <a:defRPr/>
            </a:pPr>
            <a:br>
              <a:rPr lang="en-AU" sz="1200" b="1" dirty="0"/>
            </a:br>
            <a:r>
              <a:rPr lang="en-AU" sz="1200" b="1" dirty="0"/>
              <a:t>On this slide, we would like you to show two charts:</a:t>
            </a:r>
            <a:br>
              <a:rPr lang="en-AU" sz="1200" b="1" dirty="0"/>
            </a:br>
            <a:r>
              <a:rPr lang="en-AU" sz="1200" b="1" dirty="0"/>
              <a:t>A) Using a line-series chart, show the Multivariate Regression Equation Values you’ve developed versus the Pump Failure (1 or 0)</a:t>
            </a:r>
          </a:p>
          <a:p>
            <a:pPr lvl="0">
              <a:defRPr/>
            </a:pPr>
            <a:endParaRPr lang="en-AU" sz="1200" b="1" dirty="0"/>
          </a:p>
          <a:p>
            <a:pPr lvl="0">
              <a:defRPr/>
            </a:pPr>
            <a:r>
              <a:rPr lang="en-AU" sz="1200" b="1" dirty="0"/>
              <a:t>B) Using a Column Chart, show the correlations ranked from highest-to-lowest for the Rolling Standard Deviation Dataset</a:t>
            </a:r>
          </a:p>
          <a:p>
            <a:pPr lvl="0">
              <a:defRPr/>
            </a:pPr>
            <a:endParaRPr lang="en-AU" sz="1200" b="1" dirty="0"/>
          </a:p>
          <a:p>
            <a:r>
              <a:rPr lang="en-AU" sz="1200" b="1" dirty="0"/>
              <a:t>Hint: The Chart you’ve created for the Inferential Statistics Tab, Q8 may be helpful. </a:t>
            </a:r>
          </a:p>
          <a:p>
            <a:endParaRPr lang="en-AU" sz="1200" b="1" dirty="0"/>
          </a:p>
          <a:p>
            <a:r>
              <a:rPr lang="en-AU" sz="1200" b="1" dirty="0"/>
              <a:t>You’ve created the chart for B) in Q6 so feel free to re-use this.</a:t>
            </a:r>
          </a:p>
          <a:p>
            <a:endParaRPr lang="en-AU" sz="1200" b="1" dirty="0"/>
          </a:p>
          <a:p>
            <a:r>
              <a:rPr lang="en-AU" sz="1200" b="1" dirty="0"/>
              <a:t>We’ve included an example on the right for the line chart and what it </a:t>
            </a:r>
            <a:r>
              <a:rPr lang="en-AU" sz="1200" b="1" i="1" dirty="0"/>
              <a:t>may</a:t>
            </a:r>
            <a:r>
              <a:rPr lang="en-AU" sz="1200" b="1" dirty="0"/>
              <a:t> look like.</a:t>
            </a:r>
          </a:p>
          <a:p>
            <a:endParaRPr lang="en-AU" sz="1200" b="1" dirty="0"/>
          </a:p>
        </p:txBody>
      </p:sp>
      <p:sp>
        <p:nvSpPr>
          <p:cNvPr id="4" name="TextBox 3">
            <a:extLst>
              <a:ext uri="{FF2B5EF4-FFF2-40B4-BE49-F238E27FC236}">
                <a16:creationId xmlns:a16="http://schemas.microsoft.com/office/drawing/2014/main" id="{57086ECD-9D9E-4DB0-8C88-272D3613C8FF}"/>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graphicFrame>
        <p:nvGraphicFramePr>
          <p:cNvPr id="7" name="Chart 6">
            <a:extLst>
              <a:ext uri="{FF2B5EF4-FFF2-40B4-BE49-F238E27FC236}">
                <a16:creationId xmlns:a16="http://schemas.microsoft.com/office/drawing/2014/main" id="{1B75C224-7917-4F97-9B48-A477B7CD5400}"/>
              </a:ext>
            </a:extLst>
          </p:cNvPr>
          <p:cNvGraphicFramePr>
            <a:graphicFrameLocks/>
          </p:cNvGraphicFramePr>
          <p:nvPr/>
        </p:nvGraphicFramePr>
        <p:xfrm>
          <a:off x="4121150" y="981004"/>
          <a:ext cx="4537075" cy="549946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68145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Descriptive Analysis has enabled us to clearly identify particular signature abnormalities showing clear signature changes in both Rolling Standard Deviation and Rolling Mean Datasets when observed over the respective failure period of interest.  </a:t>
            </a:r>
            <a:endParaRPr lang="en-AU" sz="1400" b="1" dirty="0"/>
          </a:p>
        </p:txBody>
      </p:sp>
      <p:cxnSp>
        <p:nvCxnSpPr>
          <p:cNvPr id="11" name="Straight Connector 10">
            <a:extLst>
              <a:ext uri="{FF2B5EF4-FFF2-40B4-BE49-F238E27FC236}">
                <a16:creationId xmlns:a16="http://schemas.microsoft.com/office/drawing/2014/main" id="{127E7470-E6FC-4CAE-AD2E-B0610F36C081}"/>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4D93FEF-20B3-4938-A65F-A142F4B92D1C}"/>
              </a:ext>
            </a:extLst>
          </p:cNvPr>
          <p:cNvSpPr txBox="1"/>
          <p:nvPr/>
        </p:nvSpPr>
        <p:spPr>
          <a:xfrm>
            <a:off x="171450" y="6409372"/>
            <a:ext cx="7841061" cy="253916"/>
          </a:xfrm>
          <a:prstGeom prst="rect">
            <a:avLst/>
          </a:prstGeom>
          <a:noFill/>
        </p:spPr>
        <p:txBody>
          <a:bodyPr wrap="square" rtlCol="0">
            <a:spAutoFit/>
          </a:bodyPr>
          <a:lstStyle/>
          <a:p>
            <a:r>
              <a:rPr lang="en-AU" sz="1050" b="1" i="1" dirty="0"/>
              <a:t>Note: We’ve included a sample headline for you – you can feel free to use this or modify this as you see fit</a:t>
            </a:r>
          </a:p>
        </p:txBody>
      </p:sp>
      <p:sp>
        <p:nvSpPr>
          <p:cNvPr id="7" name="Rectangle 6">
            <a:extLst>
              <a:ext uri="{FF2B5EF4-FFF2-40B4-BE49-F238E27FC236}">
                <a16:creationId xmlns:a16="http://schemas.microsoft.com/office/drawing/2014/main" id="{548FD5B0-4E40-45F1-A00B-B3459082779A}"/>
              </a:ext>
            </a:extLst>
          </p:cNvPr>
          <p:cNvSpPr/>
          <p:nvPr/>
        </p:nvSpPr>
        <p:spPr>
          <a:xfrm>
            <a:off x="303213" y="1238975"/>
            <a:ext cx="3665537" cy="2862322"/>
          </a:xfrm>
          <a:prstGeom prst="rect">
            <a:avLst/>
          </a:prstGeom>
        </p:spPr>
        <p:txBody>
          <a:bodyPr wrap="square">
            <a:spAutoFit/>
          </a:bodyPr>
          <a:lstStyle/>
          <a:p>
            <a:pPr lvl="0">
              <a:defRPr/>
            </a:pPr>
            <a:r>
              <a:rPr lang="en-AU" sz="1200" b="1" dirty="0"/>
              <a:t>The second slide now is starting to illustrate our story further. We will transition from Descriptive Statistics through to Inferential.</a:t>
            </a:r>
          </a:p>
          <a:p>
            <a:pPr lvl="0">
              <a:defRPr/>
            </a:pPr>
            <a:endParaRPr lang="en-AU" sz="1200" b="1" dirty="0"/>
          </a:p>
          <a:p>
            <a:pPr lvl="0">
              <a:defRPr/>
            </a:pPr>
            <a:r>
              <a:rPr lang="en-AU" sz="1200" b="1" dirty="0"/>
              <a:t>On this slide, we would like you to show two charts:</a:t>
            </a:r>
            <a:br>
              <a:rPr lang="en-AU" sz="1200" b="1" dirty="0"/>
            </a:br>
            <a:r>
              <a:rPr lang="en-AU" sz="1200" b="1" dirty="0"/>
              <a:t>A) Rolling Standard Deviation Plot</a:t>
            </a:r>
          </a:p>
          <a:p>
            <a:pPr lvl="0">
              <a:defRPr/>
            </a:pPr>
            <a:r>
              <a:rPr lang="en-AU" sz="1200" b="1" dirty="0"/>
              <a:t>B) Rolling Mean Plot</a:t>
            </a:r>
          </a:p>
          <a:p>
            <a:pPr lvl="0">
              <a:defRPr/>
            </a:pPr>
            <a:endParaRPr lang="en-AU" sz="1200" b="1" dirty="0"/>
          </a:p>
          <a:p>
            <a:pPr lvl="0">
              <a:defRPr/>
            </a:pPr>
            <a:endParaRPr lang="en-AU" sz="1200" b="1" dirty="0"/>
          </a:p>
          <a:p>
            <a:r>
              <a:rPr lang="en-AU" sz="1200" b="1" dirty="0"/>
              <a:t>Hint: The Chart you’ve created for the Descriptive Statistics Tab, Q3 may be helpful to complete this exercise. </a:t>
            </a:r>
          </a:p>
          <a:p>
            <a:endParaRPr lang="en-AU" sz="1200" b="1" dirty="0"/>
          </a:p>
          <a:p>
            <a:endParaRPr lang="en-AU" sz="1200" b="1" dirty="0"/>
          </a:p>
        </p:txBody>
      </p:sp>
    </p:spTree>
    <p:extLst>
      <p:ext uri="{BB962C8B-B14F-4D97-AF65-F5344CB8AC3E}">
        <p14:creationId xmlns:p14="http://schemas.microsoft.com/office/powerpoint/2010/main" val="116771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646331"/>
          </a:xfrm>
        </p:spPr>
        <p:txBody>
          <a:bodyPr/>
          <a:lstStyle/>
          <a:p>
            <a:pPr algn="just"/>
            <a:r>
              <a:rPr lang="en-GB" sz="1400" b="1" dirty="0"/>
              <a:t>Further segmentation of the data via binary means (Pump Failure = 0 or 1) illustrated through &lt;what plots have we used?&gt;, show a clear signature difference between that of normal behaviour and that of Failure with ______, _________, ____________ showing the 3 largest variances.</a:t>
            </a:r>
            <a:endParaRPr lang="en-AU" sz="1400" b="1" dirty="0"/>
          </a:p>
        </p:txBody>
      </p:sp>
      <p:cxnSp>
        <p:nvCxnSpPr>
          <p:cNvPr id="16" name="Straight Connector 15">
            <a:extLst>
              <a:ext uri="{FF2B5EF4-FFF2-40B4-BE49-F238E27FC236}">
                <a16:creationId xmlns:a16="http://schemas.microsoft.com/office/drawing/2014/main" id="{B5D26C0C-ABE4-436D-9169-215E6A514CFF}"/>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9AF51E9D-06DF-490B-AEE8-64E63CDAFBD8}"/>
              </a:ext>
            </a:extLst>
          </p:cNvPr>
          <p:cNvSpPr/>
          <p:nvPr/>
        </p:nvSpPr>
        <p:spPr>
          <a:xfrm>
            <a:off x="303213" y="1238975"/>
            <a:ext cx="3665537" cy="4524315"/>
          </a:xfrm>
          <a:prstGeom prst="rect">
            <a:avLst/>
          </a:prstGeom>
        </p:spPr>
        <p:txBody>
          <a:bodyPr wrap="square">
            <a:spAutoFit/>
          </a:bodyPr>
          <a:lstStyle/>
          <a:p>
            <a:pPr lvl="0">
              <a:defRPr/>
            </a:pPr>
            <a:r>
              <a:rPr lang="en-AU" sz="1200" b="1" dirty="0"/>
              <a:t>The third slide will illustrate how we have made use of descriptive statistics plot to identify which variables have exhibited the largest overall variances. </a:t>
            </a:r>
          </a:p>
          <a:p>
            <a:pPr lvl="0">
              <a:defRPr/>
            </a:pPr>
            <a:endParaRPr lang="en-AU" sz="1200" b="1" dirty="0"/>
          </a:p>
          <a:p>
            <a:pPr lvl="0">
              <a:defRPr/>
            </a:pPr>
            <a:r>
              <a:rPr lang="en-AU" sz="1200" b="1" dirty="0"/>
              <a:t>On this slide, we would like you to show four charts:</a:t>
            </a:r>
            <a:br>
              <a:rPr lang="en-AU" sz="1200" b="1" dirty="0"/>
            </a:br>
            <a:r>
              <a:rPr lang="en-AU" sz="1200" b="1" dirty="0"/>
              <a:t>A) Rolling Standard Deviation Plot (Pump Failure = 1)</a:t>
            </a:r>
          </a:p>
          <a:p>
            <a:pPr lvl="0">
              <a:defRPr/>
            </a:pPr>
            <a:r>
              <a:rPr lang="en-AU" sz="1200" b="1" dirty="0"/>
              <a:t>B) Rolling Standard Deviation Plot (Pump Failure = 0) </a:t>
            </a:r>
          </a:p>
          <a:p>
            <a:pPr lvl="0">
              <a:defRPr/>
            </a:pPr>
            <a:r>
              <a:rPr lang="en-AU" sz="1200" b="1" dirty="0"/>
              <a:t>C) Rolling Mean Plot (Pump Failure = 1)</a:t>
            </a:r>
          </a:p>
          <a:p>
            <a:pPr lvl="0">
              <a:defRPr/>
            </a:pPr>
            <a:r>
              <a:rPr lang="en-AU" sz="1200" b="1" dirty="0"/>
              <a:t>D) Rolling Mean Plot (Pump Failure = 0) </a:t>
            </a:r>
          </a:p>
          <a:p>
            <a:pPr lvl="0">
              <a:defRPr/>
            </a:pPr>
            <a:endParaRPr lang="en-AU" sz="1200" b="1" dirty="0"/>
          </a:p>
          <a:p>
            <a:pPr lvl="0">
              <a:defRPr/>
            </a:pPr>
            <a:endParaRPr lang="en-AU" sz="1200" b="1" dirty="0"/>
          </a:p>
          <a:p>
            <a:r>
              <a:rPr lang="en-AU" sz="1200" b="1" dirty="0"/>
              <a:t>Hint: The Chart you’ve created for the Descriptive Statistics Tab, Q4 may be helpful to complete this exercise. </a:t>
            </a:r>
          </a:p>
          <a:p>
            <a:endParaRPr lang="en-AU" sz="1200" b="1" dirty="0"/>
          </a:p>
          <a:p>
            <a:r>
              <a:rPr lang="en-AU" sz="1200" b="1" dirty="0"/>
              <a:t>We’ve included an example of what the descriptive statistics plots might look like on the right.</a:t>
            </a:r>
          </a:p>
          <a:p>
            <a:endParaRPr lang="en-AU" sz="1200" b="1" dirty="0"/>
          </a:p>
          <a:p>
            <a:endParaRPr lang="en-AU" sz="1200" b="1" dirty="0"/>
          </a:p>
        </p:txBody>
      </p:sp>
      <mc:AlternateContent xmlns:mc="http://schemas.openxmlformats.org/markup-compatibility/2006" xmlns:cx1="http://schemas.microsoft.com/office/drawing/2015/9/8/chartex">
        <mc:Choice Requires="cx1">
          <p:graphicFrame>
            <p:nvGraphicFramePr>
              <p:cNvPr id="15" name="Chart 14">
                <a:extLst>
                  <a:ext uri="{FF2B5EF4-FFF2-40B4-BE49-F238E27FC236}">
                    <a16:creationId xmlns:a16="http://schemas.microsoft.com/office/drawing/2014/main" id="{17E50331-D996-47F6-A268-EFB601697895}"/>
                  </a:ext>
                </a:extLst>
              </p:cNvPr>
              <p:cNvGraphicFramePr/>
              <p:nvPr>
                <p:extLst>
                  <p:ext uri="{D42A27DB-BD31-4B8C-83A1-F6EECF244321}">
                    <p14:modId xmlns:p14="http://schemas.microsoft.com/office/powerpoint/2010/main" val="230659496"/>
                  </p:ext>
                </p:extLst>
              </p:nvPr>
            </p:nvGraphicFramePr>
            <p:xfrm>
              <a:off x="5087813" y="1486785"/>
              <a:ext cx="3700800" cy="22572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5" name="Chart 14">
                <a:extLst>
                  <a:ext uri="{FF2B5EF4-FFF2-40B4-BE49-F238E27FC236}">
                    <a16:creationId xmlns:a16="http://schemas.microsoft.com/office/drawing/2014/main" id="{17E50331-D996-47F6-A268-EFB601697895}"/>
                  </a:ext>
                </a:extLst>
              </p:cNvPr>
              <p:cNvPicPr>
                <a:picLocks noGrp="1" noRot="1" noChangeAspect="1" noMove="1" noResize="1" noEditPoints="1" noAdjustHandles="1" noChangeArrowheads="1" noChangeShapeType="1"/>
              </p:cNvPicPr>
              <p:nvPr/>
            </p:nvPicPr>
            <p:blipFill>
              <a:blip r:embed="rId3"/>
              <a:stretch>
                <a:fillRect/>
              </a:stretch>
            </p:blipFill>
            <p:spPr>
              <a:xfrm>
                <a:off x="5087813" y="1486785"/>
                <a:ext cx="3700800" cy="22572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7" name="Chart 16">
                <a:extLst>
                  <a:ext uri="{FF2B5EF4-FFF2-40B4-BE49-F238E27FC236}">
                    <a16:creationId xmlns:a16="http://schemas.microsoft.com/office/drawing/2014/main" id="{60CCFCEA-963A-46C0-A1C8-016D322285D7}"/>
                  </a:ext>
                </a:extLst>
              </p:cNvPr>
              <p:cNvGraphicFramePr/>
              <p:nvPr>
                <p:extLst>
                  <p:ext uri="{D42A27DB-BD31-4B8C-83A1-F6EECF244321}">
                    <p14:modId xmlns:p14="http://schemas.microsoft.com/office/powerpoint/2010/main" val="1425193190"/>
                  </p:ext>
                </p:extLst>
              </p:nvPr>
            </p:nvGraphicFramePr>
            <p:xfrm>
              <a:off x="4985050" y="3967652"/>
              <a:ext cx="3887137" cy="2256396"/>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7" name="Chart 16">
                <a:extLst>
                  <a:ext uri="{FF2B5EF4-FFF2-40B4-BE49-F238E27FC236}">
                    <a16:creationId xmlns:a16="http://schemas.microsoft.com/office/drawing/2014/main" id="{60CCFCEA-963A-46C0-A1C8-016D322285D7}"/>
                  </a:ext>
                </a:extLst>
              </p:cNvPr>
              <p:cNvPicPr>
                <a:picLocks noGrp="1" noRot="1" noChangeAspect="1" noMove="1" noResize="1" noEditPoints="1" noAdjustHandles="1" noChangeArrowheads="1" noChangeShapeType="1"/>
              </p:cNvPicPr>
              <p:nvPr/>
            </p:nvPicPr>
            <p:blipFill>
              <a:blip r:embed="rId5"/>
              <a:stretch>
                <a:fillRect/>
              </a:stretch>
            </p:blipFill>
            <p:spPr>
              <a:xfrm>
                <a:off x="4985050" y="3967652"/>
                <a:ext cx="3887137" cy="2256396"/>
              </a:xfrm>
              <a:prstGeom prst="rect">
                <a:avLst/>
              </a:prstGeom>
            </p:spPr>
          </p:pic>
        </mc:Fallback>
      </mc:AlternateContent>
    </p:spTree>
    <p:extLst>
      <p:ext uri="{BB962C8B-B14F-4D97-AF65-F5344CB8AC3E}">
        <p14:creationId xmlns:p14="http://schemas.microsoft.com/office/powerpoint/2010/main" val="284428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0BAF-2454-4B5F-A0FE-F4B4B997D8FF}"/>
              </a:ext>
            </a:extLst>
          </p:cNvPr>
          <p:cNvSpPr>
            <a:spLocks noGrp="1"/>
          </p:cNvSpPr>
          <p:nvPr>
            <p:ph type="title"/>
          </p:nvPr>
        </p:nvSpPr>
        <p:spPr>
          <a:xfrm>
            <a:off x="171451" y="185145"/>
            <a:ext cx="8618537" cy="861774"/>
          </a:xfrm>
        </p:spPr>
        <p:txBody>
          <a:bodyPr/>
          <a:lstStyle/>
          <a:p>
            <a:pPr algn="just"/>
            <a:r>
              <a:rPr lang="en-AU" sz="1400" b="1" dirty="0"/>
              <a:t>Correlation analyses across datasets yield particularly interesting insights with _____ and ________ negatively correlated with Pump Failure in the &lt;Rolling Mean / Rolling Standard Deviation&gt; Data, whilst _________ and ___________ show a subsequently strong &lt;positive/negative&gt; correlation in the &lt;Rolling Mean / Rolling Stdev&gt;  Dataset. </a:t>
            </a:r>
          </a:p>
        </p:txBody>
      </p:sp>
      <p:graphicFrame>
        <p:nvGraphicFramePr>
          <p:cNvPr id="4" name="Chart 3">
            <a:extLst>
              <a:ext uri="{FF2B5EF4-FFF2-40B4-BE49-F238E27FC236}">
                <a16:creationId xmlns:a16="http://schemas.microsoft.com/office/drawing/2014/main" id="{D3FD4B86-4672-462A-B1BD-A1BBBE1C6B74}"/>
              </a:ext>
            </a:extLst>
          </p:cNvPr>
          <p:cNvGraphicFramePr>
            <a:graphicFrameLocks/>
          </p:cNvGraphicFramePr>
          <p:nvPr>
            <p:extLst>
              <p:ext uri="{D42A27DB-BD31-4B8C-83A1-F6EECF244321}">
                <p14:modId xmlns:p14="http://schemas.microsoft.com/office/powerpoint/2010/main" val="732477764"/>
              </p:ext>
            </p:extLst>
          </p:nvPr>
        </p:nvGraphicFramePr>
        <p:xfrm>
          <a:off x="6015036" y="1151537"/>
          <a:ext cx="2633663" cy="5130789"/>
        </p:xfrm>
        <a:graphic>
          <a:graphicData uri="http://schemas.openxmlformats.org/drawingml/2006/chart">
            <c:chart xmlns:c="http://schemas.openxmlformats.org/drawingml/2006/chart" xmlns:r="http://schemas.openxmlformats.org/officeDocument/2006/relationships" r:id="rId2"/>
          </a:graphicData>
        </a:graphic>
      </p:graphicFrame>
      <p:cxnSp>
        <p:nvCxnSpPr>
          <p:cNvPr id="7" name="Straight Connector 6">
            <a:extLst>
              <a:ext uri="{FF2B5EF4-FFF2-40B4-BE49-F238E27FC236}">
                <a16:creationId xmlns:a16="http://schemas.microsoft.com/office/drawing/2014/main" id="{FF7B0642-27F1-4360-B160-74B9D15E0003}"/>
              </a:ext>
            </a:extLst>
          </p:cNvPr>
          <p:cNvCxnSpPr/>
          <p:nvPr/>
        </p:nvCxnSpPr>
        <p:spPr>
          <a:xfrm>
            <a:off x="171451" y="94091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E4384-3887-4990-8552-96D5AB244392}"/>
              </a:ext>
            </a:extLst>
          </p:cNvPr>
          <p:cNvSpPr/>
          <p:nvPr/>
        </p:nvSpPr>
        <p:spPr>
          <a:xfrm>
            <a:off x="303213" y="1238975"/>
            <a:ext cx="3880660" cy="4708981"/>
          </a:xfrm>
          <a:prstGeom prst="rect">
            <a:avLst/>
          </a:prstGeom>
        </p:spPr>
        <p:txBody>
          <a:bodyPr wrap="square">
            <a:spAutoFit/>
          </a:bodyPr>
          <a:lstStyle/>
          <a:p>
            <a:pPr lvl="0">
              <a:defRPr/>
            </a:pPr>
            <a:r>
              <a:rPr lang="en-AU" sz="1200" b="1" dirty="0"/>
              <a:t>The fourth slide will illustrate how we have made use of inferential statistics to identify which variables have exhibited the largest correlation spreads. </a:t>
            </a:r>
          </a:p>
          <a:p>
            <a:pPr lvl="0">
              <a:defRPr/>
            </a:pPr>
            <a:endParaRPr lang="en-AU" sz="1200" b="1" dirty="0"/>
          </a:p>
          <a:p>
            <a:pPr lvl="0">
              <a:defRPr/>
            </a:pPr>
            <a:r>
              <a:rPr lang="en-AU" sz="1200" b="1" dirty="0"/>
              <a:t>On this slide, we would like you to show three charts.</a:t>
            </a:r>
          </a:p>
          <a:p>
            <a:pPr lvl="0">
              <a:defRPr/>
            </a:pPr>
            <a:r>
              <a:rPr lang="en-AU" sz="1200" b="1" dirty="0"/>
              <a:t>A) Raw Dataset Correlation against Pump Failure </a:t>
            </a:r>
          </a:p>
          <a:p>
            <a:pPr lvl="0">
              <a:defRPr/>
            </a:pPr>
            <a:r>
              <a:rPr lang="en-AU" sz="1200" b="1" dirty="0"/>
              <a:t>B) Rolling Mean Dataset Correlation against Pump Failure </a:t>
            </a:r>
          </a:p>
          <a:p>
            <a:pPr>
              <a:defRPr/>
            </a:pPr>
            <a:r>
              <a:rPr lang="en-AU" sz="1200" b="1" dirty="0"/>
              <a:t>C) Rolling Standard Deviation Dataset Correlation against Pump Failure </a:t>
            </a:r>
          </a:p>
          <a:p>
            <a:pPr lvl="0">
              <a:defRPr/>
            </a:pPr>
            <a:endParaRPr lang="en-AU" sz="1200" b="1" dirty="0"/>
          </a:p>
          <a:p>
            <a:pPr lvl="0">
              <a:defRPr/>
            </a:pPr>
            <a:endParaRPr lang="en-AU" sz="1200" b="1" dirty="0"/>
          </a:p>
          <a:p>
            <a:r>
              <a:rPr lang="en-AU" sz="1200" b="1" dirty="0"/>
              <a:t>Hint: The Correlation Heatmap’s you’ve created in Q5 on the Inferential Tab will be very helpful for this question. Don’t forget to reference the ‘Pump Failure (1 or 0)’ row for specifically the correlations related to this.</a:t>
            </a:r>
          </a:p>
          <a:p>
            <a:endParaRPr lang="en-AU" sz="1200" b="1" dirty="0"/>
          </a:p>
          <a:p>
            <a:r>
              <a:rPr lang="en-AU" sz="1200" b="1" dirty="0"/>
              <a:t>We’ve included an example of what the correlation plot for one of the datasets might look like for your reference. </a:t>
            </a:r>
          </a:p>
          <a:p>
            <a:endParaRPr lang="en-AU" sz="1200" b="1" dirty="0"/>
          </a:p>
          <a:p>
            <a:endParaRPr lang="en-AU" sz="1200" b="1" dirty="0"/>
          </a:p>
        </p:txBody>
      </p:sp>
    </p:spTree>
    <p:extLst>
      <p:ext uri="{BB962C8B-B14F-4D97-AF65-F5344CB8AC3E}">
        <p14:creationId xmlns:p14="http://schemas.microsoft.com/office/powerpoint/2010/main" val="32316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37C96-13BD-4F0C-B379-77591A183D9B}"/>
              </a:ext>
            </a:extLst>
          </p:cNvPr>
          <p:cNvSpPr>
            <a:spLocks noGrp="1"/>
          </p:cNvSpPr>
          <p:nvPr>
            <p:ph type="title"/>
          </p:nvPr>
        </p:nvSpPr>
        <p:spPr>
          <a:xfrm>
            <a:off x="171451" y="185145"/>
            <a:ext cx="8737599" cy="861774"/>
          </a:xfrm>
        </p:spPr>
        <p:txBody>
          <a:bodyPr/>
          <a:lstStyle/>
          <a:p>
            <a:r>
              <a:rPr lang="en-GB" sz="1400" b="1" dirty="0"/>
              <a:t>Lastly, analysis of the statistical significance of variables contributing towards Pump Failure reveal that with a R Squared of ____, a linear model is a &lt;good/bad&gt; fit for the data with both Rolling Mean and Rolling Standard Deviation datasets contributing key information to understand Pump Failure mechanics.</a:t>
            </a:r>
            <a:endParaRPr lang="en-AU" sz="1400" b="1" dirty="0"/>
          </a:p>
        </p:txBody>
      </p:sp>
      <p:cxnSp>
        <p:nvCxnSpPr>
          <p:cNvPr id="17" name="Straight Connector 16">
            <a:extLst>
              <a:ext uri="{FF2B5EF4-FFF2-40B4-BE49-F238E27FC236}">
                <a16:creationId xmlns:a16="http://schemas.microsoft.com/office/drawing/2014/main" id="{8F01DE78-159E-4563-BC40-E7848615A3AD}"/>
              </a:ext>
            </a:extLst>
          </p:cNvPr>
          <p:cNvCxnSpPr/>
          <p:nvPr/>
        </p:nvCxnSpPr>
        <p:spPr>
          <a:xfrm>
            <a:off x="171451" y="894698"/>
            <a:ext cx="84391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A99D9680-2E4E-433C-909F-30BD7A985DCE}"/>
              </a:ext>
            </a:extLst>
          </p:cNvPr>
          <p:cNvGraphicFramePr>
            <a:graphicFrameLocks/>
          </p:cNvGraphicFramePr>
          <p:nvPr>
            <p:extLst>
              <p:ext uri="{D42A27DB-BD31-4B8C-83A1-F6EECF244321}">
                <p14:modId xmlns:p14="http://schemas.microsoft.com/office/powerpoint/2010/main" val="2044363415"/>
              </p:ext>
            </p:extLst>
          </p:nvPr>
        </p:nvGraphicFramePr>
        <p:xfrm>
          <a:off x="4391025" y="1137292"/>
          <a:ext cx="4140199" cy="25036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3">
            <a:extLst>
              <a:ext uri="{FF2B5EF4-FFF2-40B4-BE49-F238E27FC236}">
                <a16:creationId xmlns:a16="http://schemas.microsoft.com/office/drawing/2014/main" id="{0BE1776A-7381-41BE-8DA4-29F11B6C38D3}"/>
              </a:ext>
            </a:extLst>
          </p:cNvPr>
          <p:cNvGraphicFramePr>
            <a:graphicFrameLocks noGrp="1"/>
          </p:cNvGraphicFramePr>
          <p:nvPr>
            <p:extLst>
              <p:ext uri="{D42A27DB-BD31-4B8C-83A1-F6EECF244321}">
                <p14:modId xmlns:p14="http://schemas.microsoft.com/office/powerpoint/2010/main" val="3399557859"/>
              </p:ext>
            </p:extLst>
          </p:nvPr>
        </p:nvGraphicFramePr>
        <p:xfrm>
          <a:off x="5029200" y="3640924"/>
          <a:ext cx="3702050" cy="2786954"/>
        </p:xfrm>
        <a:graphic>
          <a:graphicData uri="http://schemas.openxmlformats.org/drawingml/2006/table">
            <a:tbl>
              <a:tblPr>
                <a:tableStyleId>{073A0DAA-6AF3-43AB-8588-CEC1D06C72B9}</a:tableStyleId>
              </a:tblPr>
              <a:tblGrid>
                <a:gridCol w="2570213">
                  <a:extLst>
                    <a:ext uri="{9D8B030D-6E8A-4147-A177-3AD203B41FA5}">
                      <a16:colId xmlns:a16="http://schemas.microsoft.com/office/drawing/2014/main" val="3168761024"/>
                    </a:ext>
                  </a:extLst>
                </a:gridCol>
                <a:gridCol w="1131837">
                  <a:extLst>
                    <a:ext uri="{9D8B030D-6E8A-4147-A177-3AD203B41FA5}">
                      <a16:colId xmlns:a16="http://schemas.microsoft.com/office/drawing/2014/main" val="3675497687"/>
                    </a:ext>
                  </a:extLst>
                </a:gridCol>
              </a:tblGrid>
              <a:tr h="488476">
                <a:tc>
                  <a:txBody>
                    <a:bodyPr/>
                    <a:lstStyle/>
                    <a:p>
                      <a:pPr algn="ctr" fontAlgn="b"/>
                      <a:r>
                        <a:rPr lang="en-GB" sz="1200" b="1" i="0" u="none" strike="noStrike" dirty="0">
                          <a:solidFill>
                            <a:schemeClr val="bg1"/>
                          </a:solidFill>
                          <a:effectLst/>
                          <a:latin typeface="+mj-lt"/>
                        </a:rPr>
                        <a:t>Variable </a:t>
                      </a:r>
                    </a:p>
                  </a:txBody>
                  <a:tcPr marL="1525" marR="1525" marT="1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50000"/>
                      </a:schemeClr>
                    </a:solidFill>
                  </a:tcPr>
                </a:tc>
                <a:tc>
                  <a:txBody>
                    <a:bodyPr/>
                    <a:lstStyle/>
                    <a:p>
                      <a:pPr algn="ctr" fontAlgn="b"/>
                      <a:r>
                        <a:rPr lang="en-AU" sz="1200" b="1" i="0" u="none" strike="noStrike" dirty="0">
                          <a:solidFill>
                            <a:schemeClr val="bg1"/>
                          </a:solidFill>
                          <a:effectLst/>
                          <a:latin typeface="+mj-lt"/>
                        </a:rPr>
                        <a:t>P-Value Significance</a:t>
                      </a:r>
                    </a:p>
                  </a:txBody>
                  <a:tcPr marL="1525" marR="1525" marT="1525" marB="0" anchor="b">
                    <a:lnL w="12700" cmpd="sng">
                      <a:noFill/>
                    </a:lnL>
                    <a:solidFill>
                      <a:schemeClr val="accent2">
                        <a:lumMod val="50000"/>
                      </a:schemeClr>
                    </a:solidFill>
                  </a:tcPr>
                </a:tc>
                <a:extLst>
                  <a:ext uri="{0D108BD9-81ED-4DB2-BD59-A6C34878D82A}">
                    <a16:rowId xmlns:a16="http://schemas.microsoft.com/office/drawing/2014/main" val="827866905"/>
                  </a:ext>
                </a:extLst>
              </a:tr>
              <a:tr h="164177">
                <a:tc>
                  <a:txBody>
                    <a:bodyPr/>
                    <a:lstStyle/>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lnT w="12700" cmpd="sng">
                      <a:noFill/>
                    </a:lnT>
                  </a:tcPr>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116765502"/>
                  </a:ext>
                </a:extLst>
              </a:tr>
              <a:tr h="164177">
                <a:tc>
                  <a:txBody>
                    <a:bodyPr/>
                    <a:lstStyle/>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1629439303"/>
                  </a:ext>
                </a:extLst>
              </a:tr>
              <a:tr h="164177">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077524446"/>
                  </a:ext>
                </a:extLst>
              </a:tr>
              <a:tr h="164177">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388985088"/>
                  </a:ext>
                </a:extLst>
              </a:tr>
              <a:tr h="164177">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59883782"/>
                  </a:ext>
                </a:extLst>
              </a:tr>
              <a:tr h="164177">
                <a:tc>
                  <a:txBody>
                    <a:bodyPr/>
                    <a:lstStyle/>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521281964"/>
                  </a:ext>
                </a:extLst>
              </a:tr>
              <a:tr h="164177">
                <a:tc>
                  <a:txBody>
                    <a:bodyPr/>
                    <a:lstStyle/>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002673970"/>
                  </a:ext>
                </a:extLst>
              </a:tr>
              <a:tr h="164177">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742560865"/>
                  </a:ext>
                </a:extLst>
              </a:tr>
              <a:tr h="164177">
                <a:tc>
                  <a:txBody>
                    <a:bodyPr/>
                    <a:lstStyle/>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973506622"/>
                  </a:ext>
                </a:extLst>
              </a:tr>
              <a:tr h="164177">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1388433810"/>
                  </a:ext>
                </a:extLst>
              </a:tr>
              <a:tr h="164177">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2361535788"/>
                  </a:ext>
                </a:extLst>
              </a:tr>
              <a:tr h="164177">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3899383999"/>
                  </a:ext>
                </a:extLst>
              </a:tr>
              <a:tr h="164177">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1161402769"/>
                  </a:ext>
                </a:extLst>
              </a:tr>
              <a:tr h="164177">
                <a:tc>
                  <a:txBody>
                    <a:bodyPr/>
                    <a:lstStyle/>
                    <a:p>
                      <a:pPr algn="ctr" fontAlgn="b"/>
                      <a:endParaRPr lang="en-GB" sz="800" b="0" i="0" u="none" strike="noStrike" dirty="0">
                        <a:solidFill>
                          <a:srgbClr val="000000"/>
                        </a:solidFill>
                        <a:effectLst/>
                        <a:latin typeface="Calibri" panose="020F0502020204030204" pitchFamily="34" charset="0"/>
                      </a:endParaRPr>
                    </a:p>
                  </a:txBody>
                  <a:tcPr marL="1525" marR="1525" marT="1525" marB="0" anchor="b"/>
                </a:tc>
                <a:tc>
                  <a:txBody>
                    <a:bodyPr/>
                    <a:lstStyle/>
                    <a:p>
                      <a:pPr algn="ctr" fontAlgn="b"/>
                      <a:endParaRPr lang="en-AU" sz="800" b="0" i="0" u="none" strike="noStrike" dirty="0">
                        <a:solidFill>
                          <a:srgbClr val="000000"/>
                        </a:solidFill>
                        <a:effectLst/>
                        <a:latin typeface="Calibri" panose="020F0502020204030204" pitchFamily="34" charset="0"/>
                      </a:endParaRPr>
                    </a:p>
                  </a:txBody>
                  <a:tcPr marL="1525" marR="1525" marT="1525" marB="0" anchor="b"/>
                </a:tc>
                <a:extLst>
                  <a:ext uri="{0D108BD9-81ED-4DB2-BD59-A6C34878D82A}">
                    <a16:rowId xmlns:a16="http://schemas.microsoft.com/office/drawing/2014/main" val="101322389"/>
                  </a:ext>
                </a:extLst>
              </a:tr>
            </a:tbl>
          </a:graphicData>
        </a:graphic>
      </p:graphicFrame>
      <p:sp>
        <p:nvSpPr>
          <p:cNvPr id="7" name="Rectangle 6">
            <a:extLst>
              <a:ext uri="{FF2B5EF4-FFF2-40B4-BE49-F238E27FC236}">
                <a16:creationId xmlns:a16="http://schemas.microsoft.com/office/drawing/2014/main" id="{3349F53E-88E6-4D79-9588-9BEAF3EEC79C}"/>
              </a:ext>
            </a:extLst>
          </p:cNvPr>
          <p:cNvSpPr/>
          <p:nvPr/>
        </p:nvSpPr>
        <p:spPr>
          <a:xfrm>
            <a:off x="303213" y="1238975"/>
            <a:ext cx="3880660" cy="5632311"/>
          </a:xfrm>
          <a:prstGeom prst="rect">
            <a:avLst/>
          </a:prstGeom>
        </p:spPr>
        <p:txBody>
          <a:bodyPr wrap="square">
            <a:spAutoFit/>
          </a:bodyPr>
          <a:lstStyle/>
          <a:p>
            <a:pPr lvl="0">
              <a:defRPr/>
            </a:pPr>
            <a:r>
              <a:rPr lang="en-AU" sz="1200" b="1" dirty="0"/>
              <a:t>The fifth and final slide will close out our story and showcase how we have identified which variables are most statistically significant to our Multivariate Linear Regression Model alongside a table showcasing the associated P-Values for these variables. </a:t>
            </a:r>
          </a:p>
          <a:p>
            <a:pPr lvl="0">
              <a:defRPr/>
            </a:pPr>
            <a:endParaRPr lang="en-AU" sz="1200" b="1" dirty="0"/>
          </a:p>
          <a:p>
            <a:pPr lvl="0">
              <a:defRPr/>
            </a:pPr>
            <a:r>
              <a:rPr lang="en-AU" sz="1200" b="1" dirty="0"/>
              <a:t>On this slide, we would like you to show one chart and one table:</a:t>
            </a:r>
          </a:p>
          <a:p>
            <a:pPr lvl="0">
              <a:defRPr/>
            </a:pPr>
            <a:endParaRPr lang="en-AU" sz="1200" b="1" dirty="0"/>
          </a:p>
          <a:p>
            <a:pPr marL="228600" lvl="0" indent="-228600">
              <a:buAutoNum type="alphaUcParenR"/>
              <a:defRPr/>
            </a:pPr>
            <a:r>
              <a:rPr lang="en-AU" sz="1200" b="1" dirty="0"/>
              <a:t>Create a column-chart which ranks the variables from most important to least important with 1 meaning the variable is most important (i.e. The variable with the 2</a:t>
            </a:r>
            <a:r>
              <a:rPr lang="en-AU" sz="1200" b="1" baseline="30000" dirty="0"/>
              <a:t>nd</a:t>
            </a:r>
            <a:r>
              <a:rPr lang="en-AU" sz="1200" b="1" dirty="0"/>
              <a:t> most importance will be numbered 2 etc.)</a:t>
            </a:r>
          </a:p>
          <a:p>
            <a:pPr lvl="0">
              <a:defRPr/>
            </a:pPr>
            <a:endParaRPr lang="en-AU" sz="1200" b="1" dirty="0"/>
          </a:p>
          <a:p>
            <a:pPr lvl="0">
              <a:defRPr/>
            </a:pPr>
            <a:r>
              <a:rPr lang="en-AU" sz="1200" b="1" dirty="0"/>
              <a:t>B) Create a table which clearly lists the variables that you mentioned in step A but list the P-Value against each one of these variables so it is clear what the P-Value significance is </a:t>
            </a:r>
          </a:p>
          <a:p>
            <a:pPr lvl="0">
              <a:defRPr/>
            </a:pPr>
            <a:endParaRPr lang="en-AU" sz="1200" b="1" dirty="0"/>
          </a:p>
          <a:p>
            <a:pPr lvl="0">
              <a:defRPr/>
            </a:pPr>
            <a:endParaRPr lang="en-AU" sz="1200" b="1" dirty="0"/>
          </a:p>
          <a:p>
            <a:r>
              <a:rPr lang="en-AU" sz="1200" b="1" dirty="0"/>
              <a:t>Hint: You might found the P-Values you’ve filled out for Q7 very helpful to complete the table.</a:t>
            </a:r>
          </a:p>
          <a:p>
            <a:endParaRPr lang="en-AU" sz="1200" b="1" dirty="0"/>
          </a:p>
          <a:p>
            <a:r>
              <a:rPr lang="en-AU" sz="1200" b="1" dirty="0"/>
              <a:t>We’ve included an example of what the correlation plot might look like as well a example of the table format we expect. </a:t>
            </a:r>
          </a:p>
          <a:p>
            <a:endParaRPr lang="en-AU" sz="1200" b="1" dirty="0"/>
          </a:p>
          <a:p>
            <a:endParaRPr lang="en-AU" sz="1200" b="1" dirty="0"/>
          </a:p>
        </p:txBody>
      </p:sp>
    </p:spTree>
    <p:extLst>
      <p:ext uri="{BB962C8B-B14F-4D97-AF65-F5344CB8AC3E}">
        <p14:creationId xmlns:p14="http://schemas.microsoft.com/office/powerpoint/2010/main" val="6676576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Synergy_CF_YNR013">
  <a:themeElements>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BC14E"/>
        </a:dk2>
        <a:lt2>
          <a:srgbClr val="FFFFFF"/>
        </a:lt2>
        <a:accent1>
          <a:srgbClr val="99AABE"/>
        </a:accent1>
        <a:accent2>
          <a:srgbClr val="406085"/>
        </a:accent2>
        <a:accent3>
          <a:srgbClr val="002C46"/>
        </a:accent3>
        <a:accent4>
          <a:srgbClr val="FBC14E"/>
        </a:accent4>
        <a:accent5>
          <a:srgbClr val="379BBD"/>
        </a:accent5>
        <a:accent6>
          <a:srgbClr val="808080"/>
        </a:accent6>
        <a:hlink>
          <a:srgbClr val="002C46"/>
        </a:hlink>
        <a:folHlink>
          <a:srgbClr val="FBC14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ynergy_CF_YNR013.potx" id="{5B0B8770-4875-4F3D-A851-ED2332DB7D84}" vid="{3E5BE603-DDA9-4662-BF9D-F22E864491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03</TotalTime>
  <Words>959</Words>
  <Application>Microsoft Macintosh PowerPoint</Application>
  <PresentationFormat>Custom</PresentationFormat>
  <Paragraphs>66</Paragraphs>
  <Slides>5</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1_Synergy_CF_YNR013</vt:lpstr>
      <vt:lpstr>think-cell Slide</vt:lpstr>
      <vt:lpstr>Descriptive and inferential statistical methodologies have proven effective in creating a proactive ‘alarm’, accurately identifying Pump Failures with Horse Power (HP) and Pump Efficiency (PE) emerging as key variables of interest with deviations of 15 HP and &gt; 3 % PE being our core signal thresholds.</vt:lpstr>
      <vt:lpstr>Descriptive Analysis has enabled us to clearly identify particular signature abnormalities showing clear signature changes in both Rolling Standard Deviation and Rolling Mean Datasets when observed over the respective failure period of interest.  </vt:lpstr>
      <vt:lpstr>Further segmentation of the data via binary means (Pump Failure = 0 or 1) illustrated through &lt;what plots have we used?&gt;, show a clear signature difference between that of normal behaviour and that of Failure with ______, _________, ____________ showing the 3 largest variances.</vt:lpstr>
      <vt:lpstr>Correlation analyses across datasets yield particularly interesting insights with _____ and ________ negatively correlated with Pump Failure in the &lt;Rolling Mean / Rolling Standard Deviation&gt; Data, whilst _________ and ___________ show a subsequently strong &lt;positive/negative&gt; correlation in the &lt;Rolling Mean / Rolling Stdev&gt;  Dataset. </vt:lpstr>
      <vt:lpstr>Lastly, analysis of the statistical significance of variables contributing towards Pump Failure reveal that with a R Squared of ____, a linear model is a &lt;good/bad&gt; fit for the data with both Rolling Mean and Rolling Standard Deviation datasets contributing key information to understand Pump Failure mechan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ough focusing our efforts on the units with the majority of questions; we can be confident that we are improving the overall User Experience etc.</dc:title>
  <dc:creator>Christopher H</dc:creator>
  <cp:lastModifiedBy>Leonard Fernando</cp:lastModifiedBy>
  <cp:revision>89</cp:revision>
  <dcterms:created xsi:type="dcterms:W3CDTF">2020-04-12T13:23:13Z</dcterms:created>
  <dcterms:modified xsi:type="dcterms:W3CDTF">2020-08-24T03:56:38Z</dcterms:modified>
</cp:coreProperties>
</file>